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3.xml" ContentType="application/vnd.openxmlformats-officedocument.drawingml.chart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4.xml" ContentType="application/vnd.openxmlformats-officedocument.drawingml.chart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5.xml" ContentType="application/vnd.openxmlformats-officedocument.drawingml.chart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6.xml" ContentType="application/vnd.openxmlformats-officedocument.drawingml.chart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7.xml" ContentType="application/vnd.openxmlformats-officedocument.drawingml.chart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8.xml" ContentType="application/vnd.openxmlformats-officedocument.drawingml.chart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9.xml" ContentType="application/vnd.openxmlformats-officedocument.drawingml.chart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20.xml" ContentType="application/vnd.openxmlformats-officedocument.drawingml.chart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21.xml" ContentType="application/vnd.openxmlformats-officedocument.drawingml.chart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22.xml" ContentType="application/vnd.openxmlformats-officedocument.drawingml.chart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23.xml" ContentType="application/vnd.openxmlformats-officedocument.drawingml.chart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24.xml" ContentType="application/vnd.openxmlformats-officedocument.drawingml.chart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25.xml" ContentType="application/vnd.openxmlformats-officedocument.drawingml.chart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26.xml" ContentType="application/vnd.openxmlformats-officedocument.drawingml.chart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27.xml" ContentType="application/vnd.openxmlformats-officedocument.drawingml.chart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28.xml" ContentType="application/vnd.openxmlformats-officedocument.drawingml.chart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notesSlides/notesSlide29.xml" ContentType="application/vnd.openxmlformats-officedocument.presentationml.notesSlide+xml"/>
  <Override PartName="/ppt/charts/chart29.xml" ContentType="application/vnd.openxmlformats-officedocument.drawingml.chart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notesSlides/notesSlide30.xml" ContentType="application/vnd.openxmlformats-officedocument.presentationml.notesSlide+xml"/>
  <Override PartName="/ppt/charts/chart30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5"/>
  </p:notesMasterIdLst>
  <p:sldIdLst>
    <p:sldId id="1203" r:id="rId3"/>
    <p:sldId id="1204" r:id="rId4"/>
    <p:sldId id="1205" r:id="rId5"/>
    <p:sldId id="1206" r:id="rId6"/>
    <p:sldId id="1207" r:id="rId7"/>
    <p:sldId id="1208" r:id="rId8"/>
    <p:sldId id="1209" r:id="rId9"/>
    <p:sldId id="1210" r:id="rId10"/>
    <p:sldId id="1211" r:id="rId11"/>
    <p:sldId id="1212" r:id="rId12"/>
    <p:sldId id="1213" r:id="rId13"/>
    <p:sldId id="1214" r:id="rId14"/>
    <p:sldId id="1215" r:id="rId15"/>
    <p:sldId id="1216" r:id="rId16"/>
    <p:sldId id="1217" r:id="rId17"/>
    <p:sldId id="1218" r:id="rId18"/>
    <p:sldId id="1219" r:id="rId19"/>
    <p:sldId id="1220" r:id="rId20"/>
    <p:sldId id="1221" r:id="rId21"/>
    <p:sldId id="1222" r:id="rId22"/>
    <p:sldId id="1223" r:id="rId23"/>
    <p:sldId id="1224" r:id="rId24"/>
    <p:sldId id="1225" r:id="rId25"/>
    <p:sldId id="1226" r:id="rId26"/>
    <p:sldId id="1227" r:id="rId27"/>
    <p:sldId id="1228" r:id="rId28"/>
    <p:sldId id="1229" r:id="rId29"/>
    <p:sldId id="1230" r:id="rId30"/>
    <p:sldId id="1231" r:id="rId31"/>
    <p:sldId id="1232" r:id="rId32"/>
    <p:sldId id="1233" r:id="rId33"/>
    <p:sldId id="1234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4B0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93" autoAdjust="0"/>
    <p:restoredTop sz="94660"/>
  </p:normalViewPr>
  <p:slideViewPr>
    <p:cSldViewPr snapToGrid="0">
      <p:cViewPr varScale="1">
        <p:scale>
          <a:sx n="103" d="100"/>
          <a:sy n="103" d="100"/>
        </p:scale>
        <p:origin x="120" y="1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183030071121171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Overflow="overflow" horzOverflow="overflow" vert="horz" wrap="square" lIns="38100" tIns="19050" rIns="38100" bIns="19050" anchor="b" anchorCtr="1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numRef>
              <c:f>Sheet1!$B$1:$FY$1</c:f>
              <c:numCache>
                <c:formatCode>m/d/yyyy</c:formatCode>
                <c:ptCount val="180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7:$FY$7</c:f>
              <c:numCache>
                <c:formatCode>General</c:formatCode>
                <c:ptCount val="180"/>
                <c:pt idx="0">
                  <c:v>97</c:v>
                </c:pt>
                <c:pt idx="1">
                  <c:v>89</c:v>
                </c:pt>
                <c:pt idx="2">
                  <c:v>83</c:v>
                </c:pt>
                <c:pt idx="3">
                  <c:v>70</c:v>
                </c:pt>
                <c:pt idx="4">
                  <c:v>58</c:v>
                </c:pt>
                <c:pt idx="5">
                  <c:v>59</c:v>
                </c:pt>
                <c:pt idx="6">
                  <c:v>57</c:v>
                </c:pt>
                <c:pt idx="7">
                  <c:v>58</c:v>
                </c:pt>
                <c:pt idx="8">
                  <c:v>55</c:v>
                </c:pt>
                <c:pt idx="9">
                  <c:v>52</c:v>
                </c:pt>
                <c:pt idx="10">
                  <c:v>37</c:v>
                </c:pt>
                <c:pt idx="11">
                  <c:v>36</c:v>
                </c:pt>
                <c:pt idx="12">
                  <c:v>34</c:v>
                </c:pt>
                <c:pt idx="13">
                  <c:v>36</c:v>
                </c:pt>
                <c:pt idx="14">
                  <c:v>26</c:v>
                </c:pt>
                <c:pt idx="15">
                  <c:v>24</c:v>
                </c:pt>
                <c:pt idx="16">
                  <c:v>23</c:v>
                </c:pt>
                <c:pt idx="17">
                  <c:v>21</c:v>
                </c:pt>
                <c:pt idx="18">
                  <c:v>18</c:v>
                </c:pt>
                <c:pt idx="19">
                  <c:v>20</c:v>
                </c:pt>
                <c:pt idx="20">
                  <c:v>18</c:v>
                </c:pt>
                <c:pt idx="21">
                  <c:v>17</c:v>
                </c:pt>
                <c:pt idx="22">
                  <c:v>14</c:v>
                </c:pt>
                <c:pt idx="23">
                  <c:v>16</c:v>
                </c:pt>
                <c:pt idx="24">
                  <c:v>16</c:v>
                </c:pt>
                <c:pt idx="25">
                  <c:v>13</c:v>
                </c:pt>
                <c:pt idx="26">
                  <c:v>12</c:v>
                </c:pt>
                <c:pt idx="27">
                  <c:v>14</c:v>
                </c:pt>
                <c:pt idx="28">
                  <c:v>15</c:v>
                </c:pt>
                <c:pt idx="29">
                  <c:v>13</c:v>
                </c:pt>
                <c:pt idx="30">
                  <c:v>14</c:v>
                </c:pt>
                <c:pt idx="31">
                  <c:v>7</c:v>
                </c:pt>
                <c:pt idx="32">
                  <c:v>6</c:v>
                </c:pt>
                <c:pt idx="33">
                  <c:v>7</c:v>
                </c:pt>
                <c:pt idx="34">
                  <c:v>11</c:v>
                </c:pt>
                <c:pt idx="35">
                  <c:v>11</c:v>
                </c:pt>
                <c:pt idx="36">
                  <c:v>12</c:v>
                </c:pt>
                <c:pt idx="37">
                  <c:v>11</c:v>
                </c:pt>
                <c:pt idx="38">
                  <c:v>8</c:v>
                </c:pt>
                <c:pt idx="39">
                  <c:v>7</c:v>
                </c:pt>
                <c:pt idx="40">
                  <c:v>8</c:v>
                </c:pt>
                <c:pt idx="41">
                  <c:v>9</c:v>
                </c:pt>
                <c:pt idx="42">
                  <c:v>8</c:v>
                </c:pt>
                <c:pt idx="43">
                  <c:v>9</c:v>
                </c:pt>
                <c:pt idx="44">
                  <c:v>9</c:v>
                </c:pt>
                <c:pt idx="45">
                  <c:v>10</c:v>
                </c:pt>
                <c:pt idx="46">
                  <c:v>9</c:v>
                </c:pt>
                <c:pt idx="47">
                  <c:v>10</c:v>
                </c:pt>
                <c:pt idx="48">
                  <c:v>10</c:v>
                </c:pt>
                <c:pt idx="49">
                  <c:v>5</c:v>
                </c:pt>
                <c:pt idx="50">
                  <c:v>8</c:v>
                </c:pt>
                <c:pt idx="51">
                  <c:v>12</c:v>
                </c:pt>
                <c:pt idx="52">
                  <c:v>11</c:v>
                </c:pt>
                <c:pt idx="53">
                  <c:v>8</c:v>
                </c:pt>
                <c:pt idx="54">
                  <c:v>9</c:v>
                </c:pt>
                <c:pt idx="55">
                  <c:v>9</c:v>
                </c:pt>
                <c:pt idx="56">
                  <c:v>10</c:v>
                </c:pt>
                <c:pt idx="57">
                  <c:v>11</c:v>
                </c:pt>
                <c:pt idx="58">
                  <c:v>14</c:v>
                </c:pt>
                <c:pt idx="59">
                  <c:v>16</c:v>
                </c:pt>
                <c:pt idx="60">
                  <c:v>17</c:v>
                </c:pt>
                <c:pt idx="61">
                  <c:v>16</c:v>
                </c:pt>
                <c:pt idx="62">
                  <c:v>14</c:v>
                </c:pt>
                <c:pt idx="63">
                  <c:v>16</c:v>
                </c:pt>
                <c:pt idx="64">
                  <c:v>17</c:v>
                </c:pt>
                <c:pt idx="65">
                  <c:v>16</c:v>
                </c:pt>
                <c:pt idx="66">
                  <c:v>14</c:v>
                </c:pt>
                <c:pt idx="67">
                  <c:v>12</c:v>
                </c:pt>
                <c:pt idx="68">
                  <c:v>15</c:v>
                </c:pt>
                <c:pt idx="69">
                  <c:v>17</c:v>
                </c:pt>
                <c:pt idx="70">
                  <c:v>16</c:v>
                </c:pt>
                <c:pt idx="71">
                  <c:v>18</c:v>
                </c:pt>
                <c:pt idx="72">
                  <c:v>18</c:v>
                </c:pt>
                <c:pt idx="73">
                  <c:v>17</c:v>
                </c:pt>
                <c:pt idx="74">
                  <c:v>18</c:v>
                </c:pt>
                <c:pt idx="75">
                  <c:v>15</c:v>
                </c:pt>
                <c:pt idx="76">
                  <c:v>17</c:v>
                </c:pt>
                <c:pt idx="77">
                  <c:v>17</c:v>
                </c:pt>
                <c:pt idx="78">
                  <c:v>16</c:v>
                </c:pt>
                <c:pt idx="79">
                  <c:v>17</c:v>
                </c:pt>
                <c:pt idx="80">
                  <c:v>17</c:v>
                </c:pt>
                <c:pt idx="81">
                  <c:v>15</c:v>
                </c:pt>
                <c:pt idx="82">
                  <c:v>16</c:v>
                </c:pt>
                <c:pt idx="83">
                  <c:v>17</c:v>
                </c:pt>
                <c:pt idx="84">
                  <c:v>15</c:v>
                </c:pt>
                <c:pt idx="85">
                  <c:v>18</c:v>
                </c:pt>
                <c:pt idx="86">
                  <c:v>16</c:v>
                </c:pt>
                <c:pt idx="87">
                  <c:v>14</c:v>
                </c:pt>
                <c:pt idx="88">
                  <c:v>13</c:v>
                </c:pt>
                <c:pt idx="89">
                  <c:v>9</c:v>
                </c:pt>
                <c:pt idx="90">
                  <c:v>10</c:v>
                </c:pt>
                <c:pt idx="91">
                  <c:v>10</c:v>
                </c:pt>
                <c:pt idx="92">
                  <c:v>12</c:v>
                </c:pt>
                <c:pt idx="93">
                  <c:v>13</c:v>
                </c:pt>
                <c:pt idx="94">
                  <c:v>14</c:v>
                </c:pt>
                <c:pt idx="95">
                  <c:v>16</c:v>
                </c:pt>
                <c:pt idx="96">
                  <c:v>16</c:v>
                </c:pt>
                <c:pt idx="97">
                  <c:v>23</c:v>
                </c:pt>
                <c:pt idx="98">
                  <c:v>26</c:v>
                </c:pt>
                <c:pt idx="99">
                  <c:v>24</c:v>
                </c:pt>
                <c:pt idx="100">
                  <c:v>22</c:v>
                </c:pt>
                <c:pt idx="101">
                  <c:v>24</c:v>
                </c:pt>
                <c:pt idx="102">
                  <c:v>27</c:v>
                </c:pt>
                <c:pt idx="103">
                  <c:v>31</c:v>
                </c:pt>
                <c:pt idx="104">
                  <c:v>35</c:v>
                </c:pt>
                <c:pt idx="105">
                  <c:v>41</c:v>
                </c:pt>
                <c:pt idx="106">
                  <c:v>38</c:v>
                </c:pt>
                <c:pt idx="107">
                  <c:v>43</c:v>
                </c:pt>
                <c:pt idx="108">
                  <c:v>45</c:v>
                </c:pt>
                <c:pt idx="109">
                  <c:v>42</c:v>
                </c:pt>
                <c:pt idx="110">
                  <c:v>39</c:v>
                </c:pt>
                <c:pt idx="111">
                  <c:v>41</c:v>
                </c:pt>
                <c:pt idx="112">
                  <c:v>39</c:v>
                </c:pt>
                <c:pt idx="113">
                  <c:v>37</c:v>
                </c:pt>
                <c:pt idx="114">
                  <c:v>38</c:v>
                </c:pt>
                <c:pt idx="115">
                  <c:v>42</c:v>
                </c:pt>
                <c:pt idx="116">
                  <c:v>46</c:v>
                </c:pt>
                <c:pt idx="117">
                  <c:v>45</c:v>
                </c:pt>
                <c:pt idx="118">
                  <c:v>49</c:v>
                </c:pt>
                <c:pt idx="119">
                  <c:v>53</c:v>
                </c:pt>
                <c:pt idx="120">
                  <c:v>51</c:v>
                </c:pt>
                <c:pt idx="121">
                  <c:v>50</c:v>
                </c:pt>
                <c:pt idx="122">
                  <c:v>45</c:v>
                </c:pt>
                <c:pt idx="123">
                  <c:v>43</c:v>
                </c:pt>
                <c:pt idx="124">
                  <c:v>50</c:v>
                </c:pt>
                <c:pt idx="125">
                  <c:v>56</c:v>
                </c:pt>
                <c:pt idx="126">
                  <c:v>70</c:v>
                </c:pt>
                <c:pt idx="127">
                  <c:v>84</c:v>
                </c:pt>
                <c:pt idx="128">
                  <c:v>74</c:v>
                </c:pt>
                <c:pt idx="129">
                  <c:v>77</c:v>
                </c:pt>
                <c:pt idx="130">
                  <c:v>76</c:v>
                </c:pt>
                <c:pt idx="131">
                  <c:v>76</c:v>
                </c:pt>
                <c:pt idx="132">
                  <c:v>96</c:v>
                </c:pt>
                <c:pt idx="133">
                  <c:v>108</c:v>
                </c:pt>
                <c:pt idx="134">
                  <c:v>108</c:v>
                </c:pt>
                <c:pt idx="135">
                  <c:v>111</c:v>
                </c:pt>
                <c:pt idx="136">
                  <c:v>108</c:v>
                </c:pt>
                <c:pt idx="137">
                  <c:v>106</c:v>
                </c:pt>
                <c:pt idx="138">
                  <c:v>104</c:v>
                </c:pt>
                <c:pt idx="139">
                  <c:v>113</c:v>
                </c:pt>
                <c:pt idx="140">
                  <c:v>1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1E0-4231-8F18-A7B6D281C4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Y$1</c:f>
              <c:numCache>
                <c:formatCode>m/d/yyyy</c:formatCode>
                <c:ptCount val="180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Y$3</c:f>
              <c:numCache>
                <c:formatCode>General</c:formatCode>
                <c:ptCount val="18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1E0-4231-8F18-A7B6D281C4B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Y$1</c:f>
              <c:numCache>
                <c:formatCode>m/d/yyyy</c:formatCode>
                <c:ptCount val="180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Y$5</c:f>
              <c:numCache>
                <c:formatCode>General</c:formatCode>
                <c:ptCount val="18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1E0-4231-8F18-A7B6D281C4B8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Y$1</c:f>
              <c:numCache>
                <c:formatCode>m/d/yyyy</c:formatCode>
                <c:ptCount val="180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Y$6</c:f>
              <c:numCache>
                <c:formatCode>General</c:formatCode>
                <c:ptCount val="18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1E0-4231-8F18-A7B6D281C4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</c:v>
                </c:pt>
                <c:pt idx="1">
                  <c:v>3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1</c:v>
                </c:pt>
                <c:pt idx="73">
                  <c:v>1</c:v>
                </c:pt>
                <c:pt idx="74">
                  <c:v>1</c:v>
                </c:pt>
                <c:pt idx="75">
                  <c:v>1</c:v>
                </c:pt>
                <c:pt idx="76">
                  <c:v>2</c:v>
                </c:pt>
                <c:pt idx="77">
                  <c:v>2</c:v>
                </c:pt>
                <c:pt idx="78">
                  <c:v>2</c:v>
                </c:pt>
                <c:pt idx="79">
                  <c:v>2</c:v>
                </c:pt>
                <c:pt idx="80">
                  <c:v>3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1</c:v>
                </c:pt>
                <c:pt idx="85">
                  <c:v>1</c:v>
                </c:pt>
                <c:pt idx="86">
                  <c:v>1</c:v>
                </c:pt>
                <c:pt idx="87">
                  <c:v>1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1</c:v>
                </c:pt>
                <c:pt idx="114">
                  <c:v>1</c:v>
                </c:pt>
                <c:pt idx="115">
                  <c:v>2</c:v>
                </c:pt>
                <c:pt idx="116">
                  <c:v>1</c:v>
                </c:pt>
                <c:pt idx="117">
                  <c:v>1</c:v>
                </c:pt>
                <c:pt idx="118">
                  <c:v>2</c:v>
                </c:pt>
                <c:pt idx="119">
                  <c:v>2</c:v>
                </c:pt>
                <c:pt idx="120">
                  <c:v>2</c:v>
                </c:pt>
                <c:pt idx="121">
                  <c:v>2</c:v>
                </c:pt>
                <c:pt idx="122">
                  <c:v>1</c:v>
                </c:pt>
                <c:pt idx="123">
                  <c:v>1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1</c:v>
                </c:pt>
                <c:pt idx="134">
                  <c:v>1</c:v>
                </c:pt>
                <c:pt idx="135">
                  <c:v>2</c:v>
                </c:pt>
                <c:pt idx="136">
                  <c:v>3</c:v>
                </c:pt>
                <c:pt idx="137">
                  <c:v>3</c:v>
                </c:pt>
                <c:pt idx="138">
                  <c:v>3</c:v>
                </c:pt>
                <c:pt idx="139">
                  <c:v>3</c:v>
                </c:pt>
                <c:pt idx="140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6CD-4DD3-8379-D0E186E6D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6CD-4DD3-8379-D0E186E6DAB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6CD-4DD3-8379-D0E186E6DABE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6CD-4DD3-8379-D0E186E6D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C$1:$GF$1</c:f>
              <c:numCache>
                <c:formatCode>m/d/yyyy</c:formatCode>
                <c:ptCount val="186"/>
                <c:pt idx="0">
                  <c:v>44349</c:v>
                </c:pt>
                <c:pt idx="1">
                  <c:v>44350</c:v>
                </c:pt>
                <c:pt idx="2">
                  <c:v>44351</c:v>
                </c:pt>
                <c:pt idx="3">
                  <c:v>44352</c:v>
                </c:pt>
                <c:pt idx="4">
                  <c:v>44353</c:v>
                </c:pt>
                <c:pt idx="5">
                  <c:v>44354</c:v>
                </c:pt>
                <c:pt idx="6">
                  <c:v>44355</c:v>
                </c:pt>
                <c:pt idx="7">
                  <c:v>44356</c:v>
                </c:pt>
                <c:pt idx="8">
                  <c:v>44357</c:v>
                </c:pt>
                <c:pt idx="9">
                  <c:v>44358</c:v>
                </c:pt>
                <c:pt idx="10">
                  <c:v>44359</c:v>
                </c:pt>
                <c:pt idx="11">
                  <c:v>44360</c:v>
                </c:pt>
                <c:pt idx="12">
                  <c:v>44361</c:v>
                </c:pt>
                <c:pt idx="13">
                  <c:v>44362</c:v>
                </c:pt>
                <c:pt idx="14">
                  <c:v>44363</c:v>
                </c:pt>
                <c:pt idx="15">
                  <c:v>44364</c:v>
                </c:pt>
                <c:pt idx="16">
                  <c:v>44365</c:v>
                </c:pt>
                <c:pt idx="17">
                  <c:v>44366</c:v>
                </c:pt>
                <c:pt idx="18">
                  <c:v>44367</c:v>
                </c:pt>
                <c:pt idx="19">
                  <c:v>44368</c:v>
                </c:pt>
                <c:pt idx="20">
                  <c:v>44369</c:v>
                </c:pt>
                <c:pt idx="21">
                  <c:v>44370</c:v>
                </c:pt>
                <c:pt idx="22">
                  <c:v>44371</c:v>
                </c:pt>
                <c:pt idx="23">
                  <c:v>44372</c:v>
                </c:pt>
                <c:pt idx="24">
                  <c:v>44373</c:v>
                </c:pt>
                <c:pt idx="25">
                  <c:v>44374</c:v>
                </c:pt>
                <c:pt idx="26">
                  <c:v>44375</c:v>
                </c:pt>
                <c:pt idx="27">
                  <c:v>44376</c:v>
                </c:pt>
                <c:pt idx="28">
                  <c:v>44377</c:v>
                </c:pt>
                <c:pt idx="29">
                  <c:v>44378</c:v>
                </c:pt>
                <c:pt idx="30">
                  <c:v>44379</c:v>
                </c:pt>
                <c:pt idx="31">
                  <c:v>44380</c:v>
                </c:pt>
                <c:pt idx="32">
                  <c:v>44381</c:v>
                </c:pt>
                <c:pt idx="33">
                  <c:v>44382</c:v>
                </c:pt>
                <c:pt idx="34">
                  <c:v>44383</c:v>
                </c:pt>
                <c:pt idx="35">
                  <c:v>44384</c:v>
                </c:pt>
                <c:pt idx="36">
                  <c:v>44385</c:v>
                </c:pt>
                <c:pt idx="37">
                  <c:v>44386</c:v>
                </c:pt>
                <c:pt idx="38">
                  <c:v>44387</c:v>
                </c:pt>
                <c:pt idx="39">
                  <c:v>44388</c:v>
                </c:pt>
                <c:pt idx="40">
                  <c:v>44389</c:v>
                </c:pt>
                <c:pt idx="41">
                  <c:v>44390</c:v>
                </c:pt>
                <c:pt idx="42">
                  <c:v>44391</c:v>
                </c:pt>
                <c:pt idx="43">
                  <c:v>44392</c:v>
                </c:pt>
                <c:pt idx="44">
                  <c:v>44393</c:v>
                </c:pt>
                <c:pt idx="45">
                  <c:v>44394</c:v>
                </c:pt>
                <c:pt idx="46">
                  <c:v>44395</c:v>
                </c:pt>
                <c:pt idx="47">
                  <c:v>44396</c:v>
                </c:pt>
                <c:pt idx="48">
                  <c:v>44397</c:v>
                </c:pt>
                <c:pt idx="49">
                  <c:v>44398</c:v>
                </c:pt>
                <c:pt idx="50">
                  <c:v>44399</c:v>
                </c:pt>
                <c:pt idx="51">
                  <c:v>44400</c:v>
                </c:pt>
                <c:pt idx="52">
                  <c:v>44401</c:v>
                </c:pt>
                <c:pt idx="53">
                  <c:v>44402</c:v>
                </c:pt>
                <c:pt idx="54">
                  <c:v>44403</c:v>
                </c:pt>
                <c:pt idx="55">
                  <c:v>44404</c:v>
                </c:pt>
                <c:pt idx="56">
                  <c:v>44405</c:v>
                </c:pt>
                <c:pt idx="57">
                  <c:v>44406</c:v>
                </c:pt>
                <c:pt idx="58">
                  <c:v>44407</c:v>
                </c:pt>
                <c:pt idx="59">
                  <c:v>44408</c:v>
                </c:pt>
                <c:pt idx="60">
                  <c:v>44409</c:v>
                </c:pt>
                <c:pt idx="61">
                  <c:v>44410</c:v>
                </c:pt>
                <c:pt idx="62">
                  <c:v>44411</c:v>
                </c:pt>
                <c:pt idx="63">
                  <c:v>44412</c:v>
                </c:pt>
                <c:pt idx="64">
                  <c:v>44413</c:v>
                </c:pt>
                <c:pt idx="65">
                  <c:v>44414</c:v>
                </c:pt>
                <c:pt idx="66">
                  <c:v>44415</c:v>
                </c:pt>
                <c:pt idx="67">
                  <c:v>44416</c:v>
                </c:pt>
                <c:pt idx="68">
                  <c:v>44417</c:v>
                </c:pt>
                <c:pt idx="69">
                  <c:v>44418</c:v>
                </c:pt>
                <c:pt idx="70">
                  <c:v>44419</c:v>
                </c:pt>
                <c:pt idx="71">
                  <c:v>44420</c:v>
                </c:pt>
                <c:pt idx="72">
                  <c:v>44421</c:v>
                </c:pt>
                <c:pt idx="73">
                  <c:v>44422</c:v>
                </c:pt>
                <c:pt idx="74">
                  <c:v>44423</c:v>
                </c:pt>
                <c:pt idx="75">
                  <c:v>44424</c:v>
                </c:pt>
                <c:pt idx="76">
                  <c:v>44425</c:v>
                </c:pt>
                <c:pt idx="77">
                  <c:v>44426</c:v>
                </c:pt>
                <c:pt idx="78">
                  <c:v>44427</c:v>
                </c:pt>
                <c:pt idx="79">
                  <c:v>44428</c:v>
                </c:pt>
                <c:pt idx="80">
                  <c:v>44429</c:v>
                </c:pt>
                <c:pt idx="81">
                  <c:v>44430</c:v>
                </c:pt>
                <c:pt idx="82">
                  <c:v>44431</c:v>
                </c:pt>
                <c:pt idx="83">
                  <c:v>44432</c:v>
                </c:pt>
                <c:pt idx="84">
                  <c:v>44433</c:v>
                </c:pt>
                <c:pt idx="85">
                  <c:v>44434</c:v>
                </c:pt>
                <c:pt idx="86">
                  <c:v>44435</c:v>
                </c:pt>
                <c:pt idx="87">
                  <c:v>44436</c:v>
                </c:pt>
                <c:pt idx="88">
                  <c:v>44437</c:v>
                </c:pt>
                <c:pt idx="89">
                  <c:v>44438</c:v>
                </c:pt>
                <c:pt idx="90">
                  <c:v>44439</c:v>
                </c:pt>
                <c:pt idx="91">
                  <c:v>44440</c:v>
                </c:pt>
                <c:pt idx="92">
                  <c:v>44441</c:v>
                </c:pt>
                <c:pt idx="93">
                  <c:v>44442</c:v>
                </c:pt>
                <c:pt idx="94">
                  <c:v>44443</c:v>
                </c:pt>
                <c:pt idx="95">
                  <c:v>44444</c:v>
                </c:pt>
                <c:pt idx="96">
                  <c:v>44445</c:v>
                </c:pt>
                <c:pt idx="97">
                  <c:v>44446</c:v>
                </c:pt>
                <c:pt idx="98">
                  <c:v>44447</c:v>
                </c:pt>
                <c:pt idx="99">
                  <c:v>44448</c:v>
                </c:pt>
                <c:pt idx="100">
                  <c:v>44449</c:v>
                </c:pt>
                <c:pt idx="101">
                  <c:v>44450</c:v>
                </c:pt>
                <c:pt idx="102">
                  <c:v>44451</c:v>
                </c:pt>
                <c:pt idx="103">
                  <c:v>44452</c:v>
                </c:pt>
                <c:pt idx="104">
                  <c:v>44453</c:v>
                </c:pt>
                <c:pt idx="105">
                  <c:v>44454</c:v>
                </c:pt>
                <c:pt idx="106">
                  <c:v>44455</c:v>
                </c:pt>
                <c:pt idx="107">
                  <c:v>44456</c:v>
                </c:pt>
                <c:pt idx="108">
                  <c:v>44457</c:v>
                </c:pt>
                <c:pt idx="109">
                  <c:v>44458</c:v>
                </c:pt>
                <c:pt idx="110">
                  <c:v>44459</c:v>
                </c:pt>
                <c:pt idx="111">
                  <c:v>44460</c:v>
                </c:pt>
                <c:pt idx="112">
                  <c:v>44461</c:v>
                </c:pt>
                <c:pt idx="113">
                  <c:v>44462</c:v>
                </c:pt>
                <c:pt idx="114">
                  <c:v>44463</c:v>
                </c:pt>
                <c:pt idx="115">
                  <c:v>44464</c:v>
                </c:pt>
                <c:pt idx="116">
                  <c:v>44465</c:v>
                </c:pt>
                <c:pt idx="117">
                  <c:v>44466</c:v>
                </c:pt>
                <c:pt idx="118">
                  <c:v>44467</c:v>
                </c:pt>
                <c:pt idx="119">
                  <c:v>44468</c:v>
                </c:pt>
                <c:pt idx="120">
                  <c:v>44469</c:v>
                </c:pt>
                <c:pt idx="121">
                  <c:v>44470</c:v>
                </c:pt>
                <c:pt idx="122">
                  <c:v>44471</c:v>
                </c:pt>
                <c:pt idx="123">
                  <c:v>44472</c:v>
                </c:pt>
                <c:pt idx="124">
                  <c:v>44473</c:v>
                </c:pt>
                <c:pt idx="125">
                  <c:v>44474</c:v>
                </c:pt>
                <c:pt idx="126">
                  <c:v>44475</c:v>
                </c:pt>
                <c:pt idx="127">
                  <c:v>44476</c:v>
                </c:pt>
                <c:pt idx="128">
                  <c:v>44477</c:v>
                </c:pt>
                <c:pt idx="129">
                  <c:v>44478</c:v>
                </c:pt>
                <c:pt idx="130">
                  <c:v>44479</c:v>
                </c:pt>
                <c:pt idx="131">
                  <c:v>44480</c:v>
                </c:pt>
                <c:pt idx="132">
                  <c:v>44481</c:v>
                </c:pt>
                <c:pt idx="133">
                  <c:v>44482</c:v>
                </c:pt>
                <c:pt idx="134">
                  <c:v>44483</c:v>
                </c:pt>
                <c:pt idx="135">
                  <c:v>44484</c:v>
                </c:pt>
                <c:pt idx="136">
                  <c:v>44485</c:v>
                </c:pt>
                <c:pt idx="137">
                  <c:v>44486</c:v>
                </c:pt>
                <c:pt idx="138">
                  <c:v>44487</c:v>
                </c:pt>
                <c:pt idx="139">
                  <c:v>44488</c:v>
                </c:pt>
              </c:numCache>
            </c:numRef>
          </c:cat>
          <c:val>
            <c:numRef>
              <c:f>Sheet1!$C$7:$GF$7</c:f>
              <c:numCache>
                <c:formatCode>General</c:formatCode>
                <c:ptCount val="18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1</c:v>
                </c:pt>
                <c:pt idx="59">
                  <c:v>1</c:v>
                </c:pt>
                <c:pt idx="60">
                  <c:v>0</c:v>
                </c:pt>
                <c:pt idx="61">
                  <c:v>1</c:v>
                </c:pt>
                <c:pt idx="62">
                  <c:v>1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3</c:v>
                </c:pt>
                <c:pt idx="68">
                  <c:v>3</c:v>
                </c:pt>
                <c:pt idx="69">
                  <c:v>2</c:v>
                </c:pt>
                <c:pt idx="70">
                  <c:v>3</c:v>
                </c:pt>
                <c:pt idx="71">
                  <c:v>3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1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1</c:v>
                </c:pt>
                <c:pt idx="105">
                  <c:v>1</c:v>
                </c:pt>
                <c:pt idx="106">
                  <c:v>1</c:v>
                </c:pt>
                <c:pt idx="107">
                  <c:v>1</c:v>
                </c:pt>
                <c:pt idx="108">
                  <c:v>1</c:v>
                </c:pt>
                <c:pt idx="109">
                  <c:v>1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1</c:v>
                </c:pt>
                <c:pt idx="114">
                  <c:v>2</c:v>
                </c:pt>
                <c:pt idx="115">
                  <c:v>3</c:v>
                </c:pt>
                <c:pt idx="116">
                  <c:v>3</c:v>
                </c:pt>
                <c:pt idx="117">
                  <c:v>3</c:v>
                </c:pt>
                <c:pt idx="118">
                  <c:v>3</c:v>
                </c:pt>
                <c:pt idx="119">
                  <c:v>3</c:v>
                </c:pt>
                <c:pt idx="120">
                  <c:v>2</c:v>
                </c:pt>
                <c:pt idx="121">
                  <c:v>3</c:v>
                </c:pt>
                <c:pt idx="122">
                  <c:v>3</c:v>
                </c:pt>
                <c:pt idx="123">
                  <c:v>3</c:v>
                </c:pt>
                <c:pt idx="124">
                  <c:v>1</c:v>
                </c:pt>
                <c:pt idx="125">
                  <c:v>1</c:v>
                </c:pt>
                <c:pt idx="126">
                  <c:v>1</c:v>
                </c:pt>
                <c:pt idx="127">
                  <c:v>1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3</c:v>
                </c:pt>
                <c:pt idx="133">
                  <c:v>3</c:v>
                </c:pt>
                <c:pt idx="134">
                  <c:v>2</c:v>
                </c:pt>
                <c:pt idx="135">
                  <c:v>1</c:v>
                </c:pt>
                <c:pt idx="136">
                  <c:v>1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10-4D34-AA39-FEFBA0D267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C$1:$GF$1</c:f>
              <c:numCache>
                <c:formatCode>m/d/yyyy</c:formatCode>
                <c:ptCount val="186"/>
                <c:pt idx="0">
                  <c:v>44349</c:v>
                </c:pt>
                <c:pt idx="1">
                  <c:v>44350</c:v>
                </c:pt>
                <c:pt idx="2">
                  <c:v>44351</c:v>
                </c:pt>
                <c:pt idx="3">
                  <c:v>44352</c:v>
                </c:pt>
                <c:pt idx="4">
                  <c:v>44353</c:v>
                </c:pt>
                <c:pt idx="5">
                  <c:v>44354</c:v>
                </c:pt>
                <c:pt idx="6">
                  <c:v>44355</c:v>
                </c:pt>
                <c:pt idx="7">
                  <c:v>44356</c:v>
                </c:pt>
                <c:pt idx="8">
                  <c:v>44357</c:v>
                </c:pt>
                <c:pt idx="9">
                  <c:v>44358</c:v>
                </c:pt>
                <c:pt idx="10">
                  <c:v>44359</c:v>
                </c:pt>
                <c:pt idx="11">
                  <c:v>44360</c:v>
                </c:pt>
                <c:pt idx="12">
                  <c:v>44361</c:v>
                </c:pt>
                <c:pt idx="13">
                  <c:v>44362</c:v>
                </c:pt>
                <c:pt idx="14">
                  <c:v>44363</c:v>
                </c:pt>
                <c:pt idx="15">
                  <c:v>44364</c:v>
                </c:pt>
                <c:pt idx="16">
                  <c:v>44365</c:v>
                </c:pt>
                <c:pt idx="17">
                  <c:v>44366</c:v>
                </c:pt>
                <c:pt idx="18">
                  <c:v>44367</c:v>
                </c:pt>
                <c:pt idx="19">
                  <c:v>44368</c:v>
                </c:pt>
                <c:pt idx="20">
                  <c:v>44369</c:v>
                </c:pt>
                <c:pt idx="21">
                  <c:v>44370</c:v>
                </c:pt>
                <c:pt idx="22">
                  <c:v>44371</c:v>
                </c:pt>
                <c:pt idx="23">
                  <c:v>44372</c:v>
                </c:pt>
                <c:pt idx="24">
                  <c:v>44373</c:v>
                </c:pt>
                <c:pt idx="25">
                  <c:v>44374</c:v>
                </c:pt>
                <c:pt idx="26">
                  <c:v>44375</c:v>
                </c:pt>
                <c:pt idx="27">
                  <c:v>44376</c:v>
                </c:pt>
                <c:pt idx="28">
                  <c:v>44377</c:v>
                </c:pt>
                <c:pt idx="29">
                  <c:v>44378</c:v>
                </c:pt>
                <c:pt idx="30">
                  <c:v>44379</c:v>
                </c:pt>
                <c:pt idx="31">
                  <c:v>44380</c:v>
                </c:pt>
                <c:pt idx="32">
                  <c:v>44381</c:v>
                </c:pt>
                <c:pt idx="33">
                  <c:v>44382</c:v>
                </c:pt>
                <c:pt idx="34">
                  <c:v>44383</c:v>
                </c:pt>
                <c:pt idx="35">
                  <c:v>44384</c:v>
                </c:pt>
                <c:pt idx="36">
                  <c:v>44385</c:v>
                </c:pt>
                <c:pt idx="37">
                  <c:v>44386</c:v>
                </c:pt>
                <c:pt idx="38">
                  <c:v>44387</c:v>
                </c:pt>
                <c:pt idx="39">
                  <c:v>44388</c:v>
                </c:pt>
                <c:pt idx="40">
                  <c:v>44389</c:v>
                </c:pt>
                <c:pt idx="41">
                  <c:v>44390</c:v>
                </c:pt>
                <c:pt idx="42">
                  <c:v>44391</c:v>
                </c:pt>
                <c:pt idx="43">
                  <c:v>44392</c:v>
                </c:pt>
                <c:pt idx="44">
                  <c:v>44393</c:v>
                </c:pt>
                <c:pt idx="45">
                  <c:v>44394</c:v>
                </c:pt>
                <c:pt idx="46">
                  <c:v>44395</c:v>
                </c:pt>
                <c:pt idx="47">
                  <c:v>44396</c:v>
                </c:pt>
                <c:pt idx="48">
                  <c:v>44397</c:v>
                </c:pt>
                <c:pt idx="49">
                  <c:v>44398</c:v>
                </c:pt>
                <c:pt idx="50">
                  <c:v>44399</c:v>
                </c:pt>
                <c:pt idx="51">
                  <c:v>44400</c:v>
                </c:pt>
                <c:pt idx="52">
                  <c:v>44401</c:v>
                </c:pt>
                <c:pt idx="53">
                  <c:v>44402</c:v>
                </c:pt>
                <c:pt idx="54">
                  <c:v>44403</c:v>
                </c:pt>
                <c:pt idx="55">
                  <c:v>44404</c:v>
                </c:pt>
                <c:pt idx="56">
                  <c:v>44405</c:v>
                </c:pt>
                <c:pt idx="57">
                  <c:v>44406</c:v>
                </c:pt>
                <c:pt idx="58">
                  <c:v>44407</c:v>
                </c:pt>
                <c:pt idx="59">
                  <c:v>44408</c:v>
                </c:pt>
                <c:pt idx="60">
                  <c:v>44409</c:v>
                </c:pt>
                <c:pt idx="61">
                  <c:v>44410</c:v>
                </c:pt>
                <c:pt idx="62">
                  <c:v>44411</c:v>
                </c:pt>
                <c:pt idx="63">
                  <c:v>44412</c:v>
                </c:pt>
                <c:pt idx="64">
                  <c:v>44413</c:v>
                </c:pt>
                <c:pt idx="65">
                  <c:v>44414</c:v>
                </c:pt>
                <c:pt idx="66">
                  <c:v>44415</c:v>
                </c:pt>
                <c:pt idx="67">
                  <c:v>44416</c:v>
                </c:pt>
                <c:pt idx="68">
                  <c:v>44417</c:v>
                </c:pt>
                <c:pt idx="69">
                  <c:v>44418</c:v>
                </c:pt>
                <c:pt idx="70">
                  <c:v>44419</c:v>
                </c:pt>
                <c:pt idx="71">
                  <c:v>44420</c:v>
                </c:pt>
                <c:pt idx="72">
                  <c:v>44421</c:v>
                </c:pt>
                <c:pt idx="73">
                  <c:v>44422</c:v>
                </c:pt>
                <c:pt idx="74">
                  <c:v>44423</c:v>
                </c:pt>
                <c:pt idx="75">
                  <c:v>44424</c:v>
                </c:pt>
                <c:pt idx="76">
                  <c:v>44425</c:v>
                </c:pt>
                <c:pt idx="77">
                  <c:v>44426</c:v>
                </c:pt>
                <c:pt idx="78">
                  <c:v>44427</c:v>
                </c:pt>
                <c:pt idx="79">
                  <c:v>44428</c:v>
                </c:pt>
                <c:pt idx="80">
                  <c:v>44429</c:v>
                </c:pt>
                <c:pt idx="81">
                  <c:v>44430</c:v>
                </c:pt>
                <c:pt idx="82">
                  <c:v>44431</c:v>
                </c:pt>
                <c:pt idx="83">
                  <c:v>44432</c:v>
                </c:pt>
                <c:pt idx="84">
                  <c:v>44433</c:v>
                </c:pt>
                <c:pt idx="85">
                  <c:v>44434</c:v>
                </c:pt>
                <c:pt idx="86">
                  <c:v>44435</c:v>
                </c:pt>
                <c:pt idx="87">
                  <c:v>44436</c:v>
                </c:pt>
                <c:pt idx="88">
                  <c:v>44437</c:v>
                </c:pt>
                <c:pt idx="89">
                  <c:v>44438</c:v>
                </c:pt>
                <c:pt idx="90">
                  <c:v>44439</c:v>
                </c:pt>
                <c:pt idx="91">
                  <c:v>44440</c:v>
                </c:pt>
                <c:pt idx="92">
                  <c:v>44441</c:v>
                </c:pt>
                <c:pt idx="93">
                  <c:v>44442</c:v>
                </c:pt>
                <c:pt idx="94">
                  <c:v>44443</c:v>
                </c:pt>
                <c:pt idx="95">
                  <c:v>44444</c:v>
                </c:pt>
                <c:pt idx="96">
                  <c:v>44445</c:v>
                </c:pt>
                <c:pt idx="97">
                  <c:v>44446</c:v>
                </c:pt>
                <c:pt idx="98">
                  <c:v>44447</c:v>
                </c:pt>
                <c:pt idx="99">
                  <c:v>44448</c:v>
                </c:pt>
                <c:pt idx="100">
                  <c:v>44449</c:v>
                </c:pt>
                <c:pt idx="101">
                  <c:v>44450</c:v>
                </c:pt>
                <c:pt idx="102">
                  <c:v>44451</c:v>
                </c:pt>
                <c:pt idx="103">
                  <c:v>44452</c:v>
                </c:pt>
                <c:pt idx="104">
                  <c:v>44453</c:v>
                </c:pt>
                <c:pt idx="105">
                  <c:v>44454</c:v>
                </c:pt>
                <c:pt idx="106">
                  <c:v>44455</c:v>
                </c:pt>
                <c:pt idx="107">
                  <c:v>44456</c:v>
                </c:pt>
                <c:pt idx="108">
                  <c:v>44457</c:v>
                </c:pt>
                <c:pt idx="109">
                  <c:v>44458</c:v>
                </c:pt>
                <c:pt idx="110">
                  <c:v>44459</c:v>
                </c:pt>
                <c:pt idx="111">
                  <c:v>44460</c:v>
                </c:pt>
                <c:pt idx="112">
                  <c:v>44461</c:v>
                </c:pt>
                <c:pt idx="113">
                  <c:v>44462</c:v>
                </c:pt>
                <c:pt idx="114">
                  <c:v>44463</c:v>
                </c:pt>
                <c:pt idx="115">
                  <c:v>44464</c:v>
                </c:pt>
                <c:pt idx="116">
                  <c:v>44465</c:v>
                </c:pt>
                <c:pt idx="117">
                  <c:v>44466</c:v>
                </c:pt>
                <c:pt idx="118">
                  <c:v>44467</c:v>
                </c:pt>
                <c:pt idx="119">
                  <c:v>44468</c:v>
                </c:pt>
                <c:pt idx="120">
                  <c:v>44469</c:v>
                </c:pt>
                <c:pt idx="121">
                  <c:v>44470</c:v>
                </c:pt>
                <c:pt idx="122">
                  <c:v>44471</c:v>
                </c:pt>
                <c:pt idx="123">
                  <c:v>44472</c:v>
                </c:pt>
                <c:pt idx="124">
                  <c:v>44473</c:v>
                </c:pt>
                <c:pt idx="125">
                  <c:v>44474</c:v>
                </c:pt>
                <c:pt idx="126">
                  <c:v>44475</c:v>
                </c:pt>
                <c:pt idx="127">
                  <c:v>44476</c:v>
                </c:pt>
                <c:pt idx="128">
                  <c:v>44477</c:v>
                </c:pt>
                <c:pt idx="129">
                  <c:v>44478</c:v>
                </c:pt>
                <c:pt idx="130">
                  <c:v>44479</c:v>
                </c:pt>
                <c:pt idx="131">
                  <c:v>44480</c:v>
                </c:pt>
                <c:pt idx="132">
                  <c:v>44481</c:v>
                </c:pt>
                <c:pt idx="133">
                  <c:v>44482</c:v>
                </c:pt>
                <c:pt idx="134">
                  <c:v>44483</c:v>
                </c:pt>
                <c:pt idx="135">
                  <c:v>44484</c:v>
                </c:pt>
                <c:pt idx="136">
                  <c:v>44485</c:v>
                </c:pt>
                <c:pt idx="137">
                  <c:v>44486</c:v>
                </c:pt>
                <c:pt idx="138">
                  <c:v>44487</c:v>
                </c:pt>
                <c:pt idx="139">
                  <c:v>44488</c:v>
                </c:pt>
              </c:numCache>
            </c:numRef>
          </c:cat>
          <c:val>
            <c:numRef>
              <c:f>Sheet1!$C$2:$GF$2</c:f>
              <c:numCache>
                <c:formatCode>General</c:formatCode>
                <c:ptCount val="18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C10-4D34-AA39-FEFBA0D267A4}"/>
            </c:ext>
          </c:extLst>
        </c:ser>
        <c:ser>
          <c:idx val="2"/>
          <c:order val="1"/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C$1:$GF$1</c:f>
              <c:numCache>
                <c:formatCode>m/d/yyyy</c:formatCode>
                <c:ptCount val="186"/>
                <c:pt idx="0">
                  <c:v>44349</c:v>
                </c:pt>
                <c:pt idx="1">
                  <c:v>44350</c:v>
                </c:pt>
                <c:pt idx="2">
                  <c:v>44351</c:v>
                </c:pt>
                <c:pt idx="3">
                  <c:v>44352</c:v>
                </c:pt>
                <c:pt idx="4">
                  <c:v>44353</c:v>
                </c:pt>
                <c:pt idx="5">
                  <c:v>44354</c:v>
                </c:pt>
                <c:pt idx="6">
                  <c:v>44355</c:v>
                </c:pt>
                <c:pt idx="7">
                  <c:v>44356</c:v>
                </c:pt>
                <c:pt idx="8">
                  <c:v>44357</c:v>
                </c:pt>
                <c:pt idx="9">
                  <c:v>44358</c:v>
                </c:pt>
                <c:pt idx="10">
                  <c:v>44359</c:v>
                </c:pt>
                <c:pt idx="11">
                  <c:v>44360</c:v>
                </c:pt>
                <c:pt idx="12">
                  <c:v>44361</c:v>
                </c:pt>
                <c:pt idx="13">
                  <c:v>44362</c:v>
                </c:pt>
                <c:pt idx="14">
                  <c:v>44363</c:v>
                </c:pt>
                <c:pt idx="15">
                  <c:v>44364</c:v>
                </c:pt>
                <c:pt idx="16">
                  <c:v>44365</c:v>
                </c:pt>
                <c:pt idx="17">
                  <c:v>44366</c:v>
                </c:pt>
                <c:pt idx="18">
                  <c:v>44367</c:v>
                </c:pt>
                <c:pt idx="19">
                  <c:v>44368</c:v>
                </c:pt>
                <c:pt idx="20">
                  <c:v>44369</c:v>
                </c:pt>
                <c:pt idx="21">
                  <c:v>44370</c:v>
                </c:pt>
                <c:pt idx="22">
                  <c:v>44371</c:v>
                </c:pt>
                <c:pt idx="23">
                  <c:v>44372</c:v>
                </c:pt>
                <c:pt idx="24">
                  <c:v>44373</c:v>
                </c:pt>
                <c:pt idx="25">
                  <c:v>44374</c:v>
                </c:pt>
                <c:pt idx="26">
                  <c:v>44375</c:v>
                </c:pt>
                <c:pt idx="27">
                  <c:v>44376</c:v>
                </c:pt>
                <c:pt idx="28">
                  <c:v>44377</c:v>
                </c:pt>
                <c:pt idx="29">
                  <c:v>44378</c:v>
                </c:pt>
                <c:pt idx="30">
                  <c:v>44379</c:v>
                </c:pt>
                <c:pt idx="31">
                  <c:v>44380</c:v>
                </c:pt>
                <c:pt idx="32">
                  <c:v>44381</c:v>
                </c:pt>
                <c:pt idx="33">
                  <c:v>44382</c:v>
                </c:pt>
                <c:pt idx="34">
                  <c:v>44383</c:v>
                </c:pt>
                <c:pt idx="35">
                  <c:v>44384</c:v>
                </c:pt>
                <c:pt idx="36">
                  <c:v>44385</c:v>
                </c:pt>
                <c:pt idx="37">
                  <c:v>44386</c:v>
                </c:pt>
                <c:pt idx="38">
                  <c:v>44387</c:v>
                </c:pt>
                <c:pt idx="39">
                  <c:v>44388</c:v>
                </c:pt>
                <c:pt idx="40">
                  <c:v>44389</c:v>
                </c:pt>
                <c:pt idx="41">
                  <c:v>44390</c:v>
                </c:pt>
                <c:pt idx="42">
                  <c:v>44391</c:v>
                </c:pt>
                <c:pt idx="43">
                  <c:v>44392</c:v>
                </c:pt>
                <c:pt idx="44">
                  <c:v>44393</c:v>
                </c:pt>
                <c:pt idx="45">
                  <c:v>44394</c:v>
                </c:pt>
                <c:pt idx="46">
                  <c:v>44395</c:v>
                </c:pt>
                <c:pt idx="47">
                  <c:v>44396</c:v>
                </c:pt>
                <c:pt idx="48">
                  <c:v>44397</c:v>
                </c:pt>
                <c:pt idx="49">
                  <c:v>44398</c:v>
                </c:pt>
                <c:pt idx="50">
                  <c:v>44399</c:v>
                </c:pt>
                <c:pt idx="51">
                  <c:v>44400</c:v>
                </c:pt>
                <c:pt idx="52">
                  <c:v>44401</c:v>
                </c:pt>
                <c:pt idx="53">
                  <c:v>44402</c:v>
                </c:pt>
                <c:pt idx="54">
                  <c:v>44403</c:v>
                </c:pt>
                <c:pt idx="55">
                  <c:v>44404</c:v>
                </c:pt>
                <c:pt idx="56">
                  <c:v>44405</c:v>
                </c:pt>
                <c:pt idx="57">
                  <c:v>44406</c:v>
                </c:pt>
                <c:pt idx="58">
                  <c:v>44407</c:v>
                </c:pt>
                <c:pt idx="59">
                  <c:v>44408</c:v>
                </c:pt>
                <c:pt idx="60">
                  <c:v>44409</c:v>
                </c:pt>
                <c:pt idx="61">
                  <c:v>44410</c:v>
                </c:pt>
                <c:pt idx="62">
                  <c:v>44411</c:v>
                </c:pt>
                <c:pt idx="63">
                  <c:v>44412</c:v>
                </c:pt>
                <c:pt idx="64">
                  <c:v>44413</c:v>
                </c:pt>
                <c:pt idx="65">
                  <c:v>44414</c:v>
                </c:pt>
                <c:pt idx="66">
                  <c:v>44415</c:v>
                </c:pt>
                <c:pt idx="67">
                  <c:v>44416</c:v>
                </c:pt>
                <c:pt idx="68">
                  <c:v>44417</c:v>
                </c:pt>
                <c:pt idx="69">
                  <c:v>44418</c:v>
                </c:pt>
                <c:pt idx="70">
                  <c:v>44419</c:v>
                </c:pt>
                <c:pt idx="71">
                  <c:v>44420</c:v>
                </c:pt>
                <c:pt idx="72">
                  <c:v>44421</c:v>
                </c:pt>
                <c:pt idx="73">
                  <c:v>44422</c:v>
                </c:pt>
                <c:pt idx="74">
                  <c:v>44423</c:v>
                </c:pt>
                <c:pt idx="75">
                  <c:v>44424</c:v>
                </c:pt>
                <c:pt idx="76">
                  <c:v>44425</c:v>
                </c:pt>
                <c:pt idx="77">
                  <c:v>44426</c:v>
                </c:pt>
                <c:pt idx="78">
                  <c:v>44427</c:v>
                </c:pt>
                <c:pt idx="79">
                  <c:v>44428</c:v>
                </c:pt>
                <c:pt idx="80">
                  <c:v>44429</c:v>
                </c:pt>
                <c:pt idx="81">
                  <c:v>44430</c:v>
                </c:pt>
                <c:pt idx="82">
                  <c:v>44431</c:v>
                </c:pt>
                <c:pt idx="83">
                  <c:v>44432</c:v>
                </c:pt>
                <c:pt idx="84">
                  <c:v>44433</c:v>
                </c:pt>
                <c:pt idx="85">
                  <c:v>44434</c:v>
                </c:pt>
                <c:pt idx="86">
                  <c:v>44435</c:v>
                </c:pt>
                <c:pt idx="87">
                  <c:v>44436</c:v>
                </c:pt>
                <c:pt idx="88">
                  <c:v>44437</c:v>
                </c:pt>
                <c:pt idx="89">
                  <c:v>44438</c:v>
                </c:pt>
                <c:pt idx="90">
                  <c:v>44439</c:v>
                </c:pt>
                <c:pt idx="91">
                  <c:v>44440</c:v>
                </c:pt>
                <c:pt idx="92">
                  <c:v>44441</c:v>
                </c:pt>
                <c:pt idx="93">
                  <c:v>44442</c:v>
                </c:pt>
                <c:pt idx="94">
                  <c:v>44443</c:v>
                </c:pt>
                <c:pt idx="95">
                  <c:v>44444</c:v>
                </c:pt>
                <c:pt idx="96">
                  <c:v>44445</c:v>
                </c:pt>
                <c:pt idx="97">
                  <c:v>44446</c:v>
                </c:pt>
                <c:pt idx="98">
                  <c:v>44447</c:v>
                </c:pt>
                <c:pt idx="99">
                  <c:v>44448</c:v>
                </c:pt>
                <c:pt idx="100">
                  <c:v>44449</c:v>
                </c:pt>
                <c:pt idx="101">
                  <c:v>44450</c:v>
                </c:pt>
                <c:pt idx="102">
                  <c:v>44451</c:v>
                </c:pt>
                <c:pt idx="103">
                  <c:v>44452</c:v>
                </c:pt>
                <c:pt idx="104">
                  <c:v>44453</c:v>
                </c:pt>
                <c:pt idx="105">
                  <c:v>44454</c:v>
                </c:pt>
                <c:pt idx="106">
                  <c:v>44455</c:v>
                </c:pt>
                <c:pt idx="107">
                  <c:v>44456</c:v>
                </c:pt>
                <c:pt idx="108">
                  <c:v>44457</c:v>
                </c:pt>
                <c:pt idx="109">
                  <c:v>44458</c:v>
                </c:pt>
                <c:pt idx="110">
                  <c:v>44459</c:v>
                </c:pt>
                <c:pt idx="111">
                  <c:v>44460</c:v>
                </c:pt>
                <c:pt idx="112">
                  <c:v>44461</c:v>
                </c:pt>
                <c:pt idx="113">
                  <c:v>44462</c:v>
                </c:pt>
                <c:pt idx="114">
                  <c:v>44463</c:v>
                </c:pt>
                <c:pt idx="115">
                  <c:v>44464</c:v>
                </c:pt>
                <c:pt idx="116">
                  <c:v>44465</c:v>
                </c:pt>
                <c:pt idx="117">
                  <c:v>44466</c:v>
                </c:pt>
                <c:pt idx="118">
                  <c:v>44467</c:v>
                </c:pt>
                <c:pt idx="119">
                  <c:v>44468</c:v>
                </c:pt>
                <c:pt idx="120">
                  <c:v>44469</c:v>
                </c:pt>
                <c:pt idx="121">
                  <c:v>44470</c:v>
                </c:pt>
                <c:pt idx="122">
                  <c:v>44471</c:v>
                </c:pt>
                <c:pt idx="123">
                  <c:v>44472</c:v>
                </c:pt>
                <c:pt idx="124">
                  <c:v>44473</c:v>
                </c:pt>
                <c:pt idx="125">
                  <c:v>44474</c:v>
                </c:pt>
                <c:pt idx="126">
                  <c:v>44475</c:v>
                </c:pt>
                <c:pt idx="127">
                  <c:v>44476</c:v>
                </c:pt>
                <c:pt idx="128">
                  <c:v>44477</c:v>
                </c:pt>
                <c:pt idx="129">
                  <c:v>44478</c:v>
                </c:pt>
                <c:pt idx="130">
                  <c:v>44479</c:v>
                </c:pt>
                <c:pt idx="131">
                  <c:v>44480</c:v>
                </c:pt>
                <c:pt idx="132">
                  <c:v>44481</c:v>
                </c:pt>
                <c:pt idx="133">
                  <c:v>44482</c:v>
                </c:pt>
                <c:pt idx="134">
                  <c:v>44483</c:v>
                </c:pt>
                <c:pt idx="135">
                  <c:v>44484</c:v>
                </c:pt>
                <c:pt idx="136">
                  <c:v>44485</c:v>
                </c:pt>
                <c:pt idx="137">
                  <c:v>44486</c:v>
                </c:pt>
                <c:pt idx="138">
                  <c:v>44487</c:v>
                </c:pt>
                <c:pt idx="139">
                  <c:v>44488</c:v>
                </c:pt>
              </c:numCache>
            </c:numRef>
          </c:cat>
          <c:val>
            <c:numRef>
              <c:f>Sheet1!$C$3:$GF$3</c:f>
              <c:numCache>
                <c:formatCode>General</c:formatCode>
                <c:ptCount val="18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C10-4D34-AA39-FEFBA0D267A4}"/>
            </c:ext>
          </c:extLst>
        </c:ser>
        <c:ser>
          <c:idx val="1"/>
          <c:order val="2"/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C$1:$GF$1</c:f>
              <c:numCache>
                <c:formatCode>m/d/yyyy</c:formatCode>
                <c:ptCount val="186"/>
                <c:pt idx="0">
                  <c:v>44349</c:v>
                </c:pt>
                <c:pt idx="1">
                  <c:v>44350</c:v>
                </c:pt>
                <c:pt idx="2">
                  <c:v>44351</c:v>
                </c:pt>
                <c:pt idx="3">
                  <c:v>44352</c:v>
                </c:pt>
                <c:pt idx="4">
                  <c:v>44353</c:v>
                </c:pt>
                <c:pt idx="5">
                  <c:v>44354</c:v>
                </c:pt>
                <c:pt idx="6">
                  <c:v>44355</c:v>
                </c:pt>
                <c:pt idx="7">
                  <c:v>44356</c:v>
                </c:pt>
                <c:pt idx="8">
                  <c:v>44357</c:v>
                </c:pt>
                <c:pt idx="9">
                  <c:v>44358</c:v>
                </c:pt>
                <c:pt idx="10">
                  <c:v>44359</c:v>
                </c:pt>
                <c:pt idx="11">
                  <c:v>44360</c:v>
                </c:pt>
                <c:pt idx="12">
                  <c:v>44361</c:v>
                </c:pt>
                <c:pt idx="13">
                  <c:v>44362</c:v>
                </c:pt>
                <c:pt idx="14">
                  <c:v>44363</c:v>
                </c:pt>
                <c:pt idx="15">
                  <c:v>44364</c:v>
                </c:pt>
                <c:pt idx="16">
                  <c:v>44365</c:v>
                </c:pt>
                <c:pt idx="17">
                  <c:v>44366</c:v>
                </c:pt>
                <c:pt idx="18">
                  <c:v>44367</c:v>
                </c:pt>
                <c:pt idx="19">
                  <c:v>44368</c:v>
                </c:pt>
                <c:pt idx="20">
                  <c:v>44369</c:v>
                </c:pt>
                <c:pt idx="21">
                  <c:v>44370</c:v>
                </c:pt>
                <c:pt idx="22">
                  <c:v>44371</c:v>
                </c:pt>
                <c:pt idx="23">
                  <c:v>44372</c:v>
                </c:pt>
                <c:pt idx="24">
                  <c:v>44373</c:v>
                </c:pt>
                <c:pt idx="25">
                  <c:v>44374</c:v>
                </c:pt>
                <c:pt idx="26">
                  <c:v>44375</c:v>
                </c:pt>
                <c:pt idx="27">
                  <c:v>44376</c:v>
                </c:pt>
                <c:pt idx="28">
                  <c:v>44377</c:v>
                </c:pt>
                <c:pt idx="29">
                  <c:v>44378</c:v>
                </c:pt>
                <c:pt idx="30">
                  <c:v>44379</c:v>
                </c:pt>
                <c:pt idx="31">
                  <c:v>44380</c:v>
                </c:pt>
                <c:pt idx="32">
                  <c:v>44381</c:v>
                </c:pt>
                <c:pt idx="33">
                  <c:v>44382</c:v>
                </c:pt>
                <c:pt idx="34">
                  <c:v>44383</c:v>
                </c:pt>
                <c:pt idx="35">
                  <c:v>44384</c:v>
                </c:pt>
                <c:pt idx="36">
                  <c:v>44385</c:v>
                </c:pt>
                <c:pt idx="37">
                  <c:v>44386</c:v>
                </c:pt>
                <c:pt idx="38">
                  <c:v>44387</c:v>
                </c:pt>
                <c:pt idx="39">
                  <c:v>44388</c:v>
                </c:pt>
                <c:pt idx="40">
                  <c:v>44389</c:v>
                </c:pt>
                <c:pt idx="41">
                  <c:v>44390</c:v>
                </c:pt>
                <c:pt idx="42">
                  <c:v>44391</c:v>
                </c:pt>
                <c:pt idx="43">
                  <c:v>44392</c:v>
                </c:pt>
                <c:pt idx="44">
                  <c:v>44393</c:v>
                </c:pt>
                <c:pt idx="45">
                  <c:v>44394</c:v>
                </c:pt>
                <c:pt idx="46">
                  <c:v>44395</c:v>
                </c:pt>
                <c:pt idx="47">
                  <c:v>44396</c:v>
                </c:pt>
                <c:pt idx="48">
                  <c:v>44397</c:v>
                </c:pt>
                <c:pt idx="49">
                  <c:v>44398</c:v>
                </c:pt>
                <c:pt idx="50">
                  <c:v>44399</c:v>
                </c:pt>
                <c:pt idx="51">
                  <c:v>44400</c:v>
                </c:pt>
                <c:pt idx="52">
                  <c:v>44401</c:v>
                </c:pt>
                <c:pt idx="53">
                  <c:v>44402</c:v>
                </c:pt>
                <c:pt idx="54">
                  <c:v>44403</c:v>
                </c:pt>
                <c:pt idx="55">
                  <c:v>44404</c:v>
                </c:pt>
                <c:pt idx="56">
                  <c:v>44405</c:v>
                </c:pt>
                <c:pt idx="57">
                  <c:v>44406</c:v>
                </c:pt>
                <c:pt idx="58">
                  <c:v>44407</c:v>
                </c:pt>
                <c:pt idx="59">
                  <c:v>44408</c:v>
                </c:pt>
                <c:pt idx="60">
                  <c:v>44409</c:v>
                </c:pt>
                <c:pt idx="61">
                  <c:v>44410</c:v>
                </c:pt>
                <c:pt idx="62">
                  <c:v>44411</c:v>
                </c:pt>
                <c:pt idx="63">
                  <c:v>44412</c:v>
                </c:pt>
                <c:pt idx="64">
                  <c:v>44413</c:v>
                </c:pt>
                <c:pt idx="65">
                  <c:v>44414</c:v>
                </c:pt>
                <c:pt idx="66">
                  <c:v>44415</c:v>
                </c:pt>
                <c:pt idx="67">
                  <c:v>44416</c:v>
                </c:pt>
                <c:pt idx="68">
                  <c:v>44417</c:v>
                </c:pt>
                <c:pt idx="69">
                  <c:v>44418</c:v>
                </c:pt>
                <c:pt idx="70">
                  <c:v>44419</c:v>
                </c:pt>
                <c:pt idx="71">
                  <c:v>44420</c:v>
                </c:pt>
                <c:pt idx="72">
                  <c:v>44421</c:v>
                </c:pt>
                <c:pt idx="73">
                  <c:v>44422</c:v>
                </c:pt>
                <c:pt idx="74">
                  <c:v>44423</c:v>
                </c:pt>
                <c:pt idx="75">
                  <c:v>44424</c:v>
                </c:pt>
                <c:pt idx="76">
                  <c:v>44425</c:v>
                </c:pt>
                <c:pt idx="77">
                  <c:v>44426</c:v>
                </c:pt>
                <c:pt idx="78">
                  <c:v>44427</c:v>
                </c:pt>
                <c:pt idx="79">
                  <c:v>44428</c:v>
                </c:pt>
                <c:pt idx="80">
                  <c:v>44429</c:v>
                </c:pt>
                <c:pt idx="81">
                  <c:v>44430</c:v>
                </c:pt>
                <c:pt idx="82">
                  <c:v>44431</c:v>
                </c:pt>
                <c:pt idx="83">
                  <c:v>44432</c:v>
                </c:pt>
                <c:pt idx="84">
                  <c:v>44433</c:v>
                </c:pt>
                <c:pt idx="85">
                  <c:v>44434</c:v>
                </c:pt>
                <c:pt idx="86">
                  <c:v>44435</c:v>
                </c:pt>
                <c:pt idx="87">
                  <c:v>44436</c:v>
                </c:pt>
                <c:pt idx="88">
                  <c:v>44437</c:v>
                </c:pt>
                <c:pt idx="89">
                  <c:v>44438</c:v>
                </c:pt>
                <c:pt idx="90">
                  <c:v>44439</c:v>
                </c:pt>
                <c:pt idx="91">
                  <c:v>44440</c:v>
                </c:pt>
                <c:pt idx="92">
                  <c:v>44441</c:v>
                </c:pt>
                <c:pt idx="93">
                  <c:v>44442</c:v>
                </c:pt>
                <c:pt idx="94">
                  <c:v>44443</c:v>
                </c:pt>
                <c:pt idx="95">
                  <c:v>44444</c:v>
                </c:pt>
                <c:pt idx="96">
                  <c:v>44445</c:v>
                </c:pt>
                <c:pt idx="97">
                  <c:v>44446</c:v>
                </c:pt>
                <c:pt idx="98">
                  <c:v>44447</c:v>
                </c:pt>
                <c:pt idx="99">
                  <c:v>44448</c:v>
                </c:pt>
                <c:pt idx="100">
                  <c:v>44449</c:v>
                </c:pt>
                <c:pt idx="101">
                  <c:v>44450</c:v>
                </c:pt>
                <c:pt idx="102">
                  <c:v>44451</c:v>
                </c:pt>
                <c:pt idx="103">
                  <c:v>44452</c:v>
                </c:pt>
                <c:pt idx="104">
                  <c:v>44453</c:v>
                </c:pt>
                <c:pt idx="105">
                  <c:v>44454</c:v>
                </c:pt>
                <c:pt idx="106">
                  <c:v>44455</c:v>
                </c:pt>
                <c:pt idx="107">
                  <c:v>44456</c:v>
                </c:pt>
                <c:pt idx="108">
                  <c:v>44457</c:v>
                </c:pt>
                <c:pt idx="109">
                  <c:v>44458</c:v>
                </c:pt>
                <c:pt idx="110">
                  <c:v>44459</c:v>
                </c:pt>
                <c:pt idx="111">
                  <c:v>44460</c:v>
                </c:pt>
                <c:pt idx="112">
                  <c:v>44461</c:v>
                </c:pt>
                <c:pt idx="113">
                  <c:v>44462</c:v>
                </c:pt>
                <c:pt idx="114">
                  <c:v>44463</c:v>
                </c:pt>
                <c:pt idx="115">
                  <c:v>44464</c:v>
                </c:pt>
                <c:pt idx="116">
                  <c:v>44465</c:v>
                </c:pt>
                <c:pt idx="117">
                  <c:v>44466</c:v>
                </c:pt>
                <c:pt idx="118">
                  <c:v>44467</c:v>
                </c:pt>
                <c:pt idx="119">
                  <c:v>44468</c:v>
                </c:pt>
                <c:pt idx="120">
                  <c:v>44469</c:v>
                </c:pt>
                <c:pt idx="121">
                  <c:v>44470</c:v>
                </c:pt>
                <c:pt idx="122">
                  <c:v>44471</c:v>
                </c:pt>
                <c:pt idx="123">
                  <c:v>44472</c:v>
                </c:pt>
                <c:pt idx="124">
                  <c:v>44473</c:v>
                </c:pt>
                <c:pt idx="125">
                  <c:v>44474</c:v>
                </c:pt>
                <c:pt idx="126">
                  <c:v>44475</c:v>
                </c:pt>
                <c:pt idx="127">
                  <c:v>44476</c:v>
                </c:pt>
                <c:pt idx="128">
                  <c:v>44477</c:v>
                </c:pt>
                <c:pt idx="129">
                  <c:v>44478</c:v>
                </c:pt>
                <c:pt idx="130">
                  <c:v>44479</c:v>
                </c:pt>
                <c:pt idx="131">
                  <c:v>44480</c:v>
                </c:pt>
                <c:pt idx="132">
                  <c:v>44481</c:v>
                </c:pt>
                <c:pt idx="133">
                  <c:v>44482</c:v>
                </c:pt>
                <c:pt idx="134">
                  <c:v>44483</c:v>
                </c:pt>
                <c:pt idx="135">
                  <c:v>44484</c:v>
                </c:pt>
                <c:pt idx="136">
                  <c:v>44485</c:v>
                </c:pt>
                <c:pt idx="137">
                  <c:v>44486</c:v>
                </c:pt>
                <c:pt idx="138">
                  <c:v>44487</c:v>
                </c:pt>
                <c:pt idx="139">
                  <c:v>44488</c:v>
                </c:pt>
              </c:numCache>
            </c:numRef>
          </c:cat>
          <c:val>
            <c:numRef>
              <c:f>Sheet1!$C$4:$GF$4</c:f>
              <c:numCache>
                <c:formatCode>General</c:formatCode>
                <c:ptCount val="18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C10-4D34-AA39-FEFBA0D267A4}"/>
            </c:ext>
          </c:extLst>
        </c:ser>
        <c:ser>
          <c:idx val="0"/>
          <c:order val="3"/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C$1:$GF$1</c:f>
              <c:numCache>
                <c:formatCode>m/d/yyyy</c:formatCode>
                <c:ptCount val="186"/>
                <c:pt idx="0">
                  <c:v>44349</c:v>
                </c:pt>
                <c:pt idx="1">
                  <c:v>44350</c:v>
                </c:pt>
                <c:pt idx="2">
                  <c:v>44351</c:v>
                </c:pt>
                <c:pt idx="3">
                  <c:v>44352</c:v>
                </c:pt>
                <c:pt idx="4">
                  <c:v>44353</c:v>
                </c:pt>
                <c:pt idx="5">
                  <c:v>44354</c:v>
                </c:pt>
                <c:pt idx="6">
                  <c:v>44355</c:v>
                </c:pt>
                <c:pt idx="7">
                  <c:v>44356</c:v>
                </c:pt>
                <c:pt idx="8">
                  <c:v>44357</c:v>
                </c:pt>
                <c:pt idx="9">
                  <c:v>44358</c:v>
                </c:pt>
                <c:pt idx="10">
                  <c:v>44359</c:v>
                </c:pt>
                <c:pt idx="11">
                  <c:v>44360</c:v>
                </c:pt>
                <c:pt idx="12">
                  <c:v>44361</c:v>
                </c:pt>
                <c:pt idx="13">
                  <c:v>44362</c:v>
                </c:pt>
                <c:pt idx="14">
                  <c:v>44363</c:v>
                </c:pt>
                <c:pt idx="15">
                  <c:v>44364</c:v>
                </c:pt>
                <c:pt idx="16">
                  <c:v>44365</c:v>
                </c:pt>
                <c:pt idx="17">
                  <c:v>44366</c:v>
                </c:pt>
                <c:pt idx="18">
                  <c:v>44367</c:v>
                </c:pt>
                <c:pt idx="19">
                  <c:v>44368</c:v>
                </c:pt>
                <c:pt idx="20">
                  <c:v>44369</c:v>
                </c:pt>
                <c:pt idx="21">
                  <c:v>44370</c:v>
                </c:pt>
                <c:pt idx="22">
                  <c:v>44371</c:v>
                </c:pt>
                <c:pt idx="23">
                  <c:v>44372</c:v>
                </c:pt>
                <c:pt idx="24">
                  <c:v>44373</c:v>
                </c:pt>
                <c:pt idx="25">
                  <c:v>44374</c:v>
                </c:pt>
                <c:pt idx="26">
                  <c:v>44375</c:v>
                </c:pt>
                <c:pt idx="27">
                  <c:v>44376</c:v>
                </c:pt>
                <c:pt idx="28">
                  <c:v>44377</c:v>
                </c:pt>
                <c:pt idx="29">
                  <c:v>44378</c:v>
                </c:pt>
                <c:pt idx="30">
                  <c:v>44379</c:v>
                </c:pt>
                <c:pt idx="31">
                  <c:v>44380</c:v>
                </c:pt>
                <c:pt idx="32">
                  <c:v>44381</c:v>
                </c:pt>
                <c:pt idx="33">
                  <c:v>44382</c:v>
                </c:pt>
                <c:pt idx="34">
                  <c:v>44383</c:v>
                </c:pt>
                <c:pt idx="35">
                  <c:v>44384</c:v>
                </c:pt>
                <c:pt idx="36">
                  <c:v>44385</c:v>
                </c:pt>
                <c:pt idx="37">
                  <c:v>44386</c:v>
                </c:pt>
                <c:pt idx="38">
                  <c:v>44387</c:v>
                </c:pt>
                <c:pt idx="39">
                  <c:v>44388</c:v>
                </c:pt>
                <c:pt idx="40">
                  <c:v>44389</c:v>
                </c:pt>
                <c:pt idx="41">
                  <c:v>44390</c:v>
                </c:pt>
                <c:pt idx="42">
                  <c:v>44391</c:v>
                </c:pt>
                <c:pt idx="43">
                  <c:v>44392</c:v>
                </c:pt>
                <c:pt idx="44">
                  <c:v>44393</c:v>
                </c:pt>
                <c:pt idx="45">
                  <c:v>44394</c:v>
                </c:pt>
                <c:pt idx="46">
                  <c:v>44395</c:v>
                </c:pt>
                <c:pt idx="47">
                  <c:v>44396</c:v>
                </c:pt>
                <c:pt idx="48">
                  <c:v>44397</c:v>
                </c:pt>
                <c:pt idx="49">
                  <c:v>44398</c:v>
                </c:pt>
                <c:pt idx="50">
                  <c:v>44399</c:v>
                </c:pt>
                <c:pt idx="51">
                  <c:v>44400</c:v>
                </c:pt>
                <c:pt idx="52">
                  <c:v>44401</c:v>
                </c:pt>
                <c:pt idx="53">
                  <c:v>44402</c:v>
                </c:pt>
                <c:pt idx="54">
                  <c:v>44403</c:v>
                </c:pt>
                <c:pt idx="55">
                  <c:v>44404</c:v>
                </c:pt>
                <c:pt idx="56">
                  <c:v>44405</c:v>
                </c:pt>
                <c:pt idx="57">
                  <c:v>44406</c:v>
                </c:pt>
                <c:pt idx="58">
                  <c:v>44407</c:v>
                </c:pt>
                <c:pt idx="59">
                  <c:v>44408</c:v>
                </c:pt>
                <c:pt idx="60">
                  <c:v>44409</c:v>
                </c:pt>
                <c:pt idx="61">
                  <c:v>44410</c:v>
                </c:pt>
                <c:pt idx="62">
                  <c:v>44411</c:v>
                </c:pt>
                <c:pt idx="63">
                  <c:v>44412</c:v>
                </c:pt>
                <c:pt idx="64">
                  <c:v>44413</c:v>
                </c:pt>
                <c:pt idx="65">
                  <c:v>44414</c:v>
                </c:pt>
                <c:pt idx="66">
                  <c:v>44415</c:v>
                </c:pt>
                <c:pt idx="67">
                  <c:v>44416</c:v>
                </c:pt>
                <c:pt idx="68">
                  <c:v>44417</c:v>
                </c:pt>
                <c:pt idx="69">
                  <c:v>44418</c:v>
                </c:pt>
                <c:pt idx="70">
                  <c:v>44419</c:v>
                </c:pt>
                <c:pt idx="71">
                  <c:v>44420</c:v>
                </c:pt>
                <c:pt idx="72">
                  <c:v>44421</c:v>
                </c:pt>
                <c:pt idx="73">
                  <c:v>44422</c:v>
                </c:pt>
                <c:pt idx="74">
                  <c:v>44423</c:v>
                </c:pt>
                <c:pt idx="75">
                  <c:v>44424</c:v>
                </c:pt>
                <c:pt idx="76">
                  <c:v>44425</c:v>
                </c:pt>
                <c:pt idx="77">
                  <c:v>44426</c:v>
                </c:pt>
                <c:pt idx="78">
                  <c:v>44427</c:v>
                </c:pt>
                <c:pt idx="79">
                  <c:v>44428</c:v>
                </c:pt>
                <c:pt idx="80">
                  <c:v>44429</c:v>
                </c:pt>
                <c:pt idx="81">
                  <c:v>44430</c:v>
                </c:pt>
                <c:pt idx="82">
                  <c:v>44431</c:v>
                </c:pt>
                <c:pt idx="83">
                  <c:v>44432</c:v>
                </c:pt>
                <c:pt idx="84">
                  <c:v>44433</c:v>
                </c:pt>
                <c:pt idx="85">
                  <c:v>44434</c:v>
                </c:pt>
                <c:pt idx="86">
                  <c:v>44435</c:v>
                </c:pt>
                <c:pt idx="87">
                  <c:v>44436</c:v>
                </c:pt>
                <c:pt idx="88">
                  <c:v>44437</c:v>
                </c:pt>
                <c:pt idx="89">
                  <c:v>44438</c:v>
                </c:pt>
                <c:pt idx="90">
                  <c:v>44439</c:v>
                </c:pt>
                <c:pt idx="91">
                  <c:v>44440</c:v>
                </c:pt>
                <c:pt idx="92">
                  <c:v>44441</c:v>
                </c:pt>
                <c:pt idx="93">
                  <c:v>44442</c:v>
                </c:pt>
                <c:pt idx="94">
                  <c:v>44443</c:v>
                </c:pt>
                <c:pt idx="95">
                  <c:v>44444</c:v>
                </c:pt>
                <c:pt idx="96">
                  <c:v>44445</c:v>
                </c:pt>
                <c:pt idx="97">
                  <c:v>44446</c:v>
                </c:pt>
                <c:pt idx="98">
                  <c:v>44447</c:v>
                </c:pt>
                <c:pt idx="99">
                  <c:v>44448</c:v>
                </c:pt>
                <c:pt idx="100">
                  <c:v>44449</c:v>
                </c:pt>
                <c:pt idx="101">
                  <c:v>44450</c:v>
                </c:pt>
                <c:pt idx="102">
                  <c:v>44451</c:v>
                </c:pt>
                <c:pt idx="103">
                  <c:v>44452</c:v>
                </c:pt>
                <c:pt idx="104">
                  <c:v>44453</c:v>
                </c:pt>
                <c:pt idx="105">
                  <c:v>44454</c:v>
                </c:pt>
                <c:pt idx="106">
                  <c:v>44455</c:v>
                </c:pt>
                <c:pt idx="107">
                  <c:v>44456</c:v>
                </c:pt>
                <c:pt idx="108">
                  <c:v>44457</c:v>
                </c:pt>
                <c:pt idx="109">
                  <c:v>44458</c:v>
                </c:pt>
                <c:pt idx="110">
                  <c:v>44459</c:v>
                </c:pt>
                <c:pt idx="111">
                  <c:v>44460</c:v>
                </c:pt>
                <c:pt idx="112">
                  <c:v>44461</c:v>
                </c:pt>
                <c:pt idx="113">
                  <c:v>44462</c:v>
                </c:pt>
                <c:pt idx="114">
                  <c:v>44463</c:v>
                </c:pt>
                <c:pt idx="115">
                  <c:v>44464</c:v>
                </c:pt>
                <c:pt idx="116">
                  <c:v>44465</c:v>
                </c:pt>
                <c:pt idx="117">
                  <c:v>44466</c:v>
                </c:pt>
                <c:pt idx="118">
                  <c:v>44467</c:v>
                </c:pt>
                <c:pt idx="119">
                  <c:v>44468</c:v>
                </c:pt>
                <c:pt idx="120">
                  <c:v>44469</c:v>
                </c:pt>
                <c:pt idx="121">
                  <c:v>44470</c:v>
                </c:pt>
                <c:pt idx="122">
                  <c:v>44471</c:v>
                </c:pt>
                <c:pt idx="123">
                  <c:v>44472</c:v>
                </c:pt>
                <c:pt idx="124">
                  <c:v>44473</c:v>
                </c:pt>
                <c:pt idx="125">
                  <c:v>44474</c:v>
                </c:pt>
                <c:pt idx="126">
                  <c:v>44475</c:v>
                </c:pt>
                <c:pt idx="127">
                  <c:v>44476</c:v>
                </c:pt>
                <c:pt idx="128">
                  <c:v>44477</c:v>
                </c:pt>
                <c:pt idx="129">
                  <c:v>44478</c:v>
                </c:pt>
                <c:pt idx="130">
                  <c:v>44479</c:v>
                </c:pt>
                <c:pt idx="131">
                  <c:v>44480</c:v>
                </c:pt>
                <c:pt idx="132">
                  <c:v>44481</c:v>
                </c:pt>
                <c:pt idx="133">
                  <c:v>44482</c:v>
                </c:pt>
                <c:pt idx="134">
                  <c:v>44483</c:v>
                </c:pt>
                <c:pt idx="135">
                  <c:v>44484</c:v>
                </c:pt>
                <c:pt idx="136">
                  <c:v>44485</c:v>
                </c:pt>
                <c:pt idx="137">
                  <c:v>44486</c:v>
                </c:pt>
                <c:pt idx="138">
                  <c:v>44487</c:v>
                </c:pt>
                <c:pt idx="139">
                  <c:v>44488</c:v>
                </c:pt>
              </c:numCache>
            </c:numRef>
          </c:cat>
          <c:val>
            <c:numRef>
              <c:f>Sheet1!$C$5:$GF$5</c:f>
              <c:numCache>
                <c:formatCode>General</c:formatCode>
                <c:ptCount val="18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C10-4D34-AA39-FEFBA0D267A4}"/>
            </c:ext>
          </c:extLst>
        </c:ser>
        <c:ser>
          <c:idx val="4"/>
          <c:order val="4"/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C$1:$GF$1</c:f>
              <c:numCache>
                <c:formatCode>m/d/yyyy</c:formatCode>
                <c:ptCount val="186"/>
                <c:pt idx="0">
                  <c:v>44349</c:v>
                </c:pt>
                <c:pt idx="1">
                  <c:v>44350</c:v>
                </c:pt>
                <c:pt idx="2">
                  <c:v>44351</c:v>
                </c:pt>
                <c:pt idx="3">
                  <c:v>44352</c:v>
                </c:pt>
                <c:pt idx="4">
                  <c:v>44353</c:v>
                </c:pt>
                <c:pt idx="5">
                  <c:v>44354</c:v>
                </c:pt>
                <c:pt idx="6">
                  <c:v>44355</c:v>
                </c:pt>
                <c:pt idx="7">
                  <c:v>44356</c:v>
                </c:pt>
                <c:pt idx="8">
                  <c:v>44357</c:v>
                </c:pt>
                <c:pt idx="9">
                  <c:v>44358</c:v>
                </c:pt>
                <c:pt idx="10">
                  <c:v>44359</c:v>
                </c:pt>
                <c:pt idx="11">
                  <c:v>44360</c:v>
                </c:pt>
                <c:pt idx="12">
                  <c:v>44361</c:v>
                </c:pt>
                <c:pt idx="13">
                  <c:v>44362</c:v>
                </c:pt>
                <c:pt idx="14">
                  <c:v>44363</c:v>
                </c:pt>
                <c:pt idx="15">
                  <c:v>44364</c:v>
                </c:pt>
                <c:pt idx="16">
                  <c:v>44365</c:v>
                </c:pt>
                <c:pt idx="17">
                  <c:v>44366</c:v>
                </c:pt>
                <c:pt idx="18">
                  <c:v>44367</c:v>
                </c:pt>
                <c:pt idx="19">
                  <c:v>44368</c:v>
                </c:pt>
                <c:pt idx="20">
                  <c:v>44369</c:v>
                </c:pt>
                <c:pt idx="21">
                  <c:v>44370</c:v>
                </c:pt>
                <c:pt idx="22">
                  <c:v>44371</c:v>
                </c:pt>
                <c:pt idx="23">
                  <c:v>44372</c:v>
                </c:pt>
                <c:pt idx="24">
                  <c:v>44373</c:v>
                </c:pt>
                <c:pt idx="25">
                  <c:v>44374</c:v>
                </c:pt>
                <c:pt idx="26">
                  <c:v>44375</c:v>
                </c:pt>
                <c:pt idx="27">
                  <c:v>44376</c:v>
                </c:pt>
                <c:pt idx="28">
                  <c:v>44377</c:v>
                </c:pt>
                <c:pt idx="29">
                  <c:v>44378</c:v>
                </c:pt>
                <c:pt idx="30">
                  <c:v>44379</c:v>
                </c:pt>
                <c:pt idx="31">
                  <c:v>44380</c:v>
                </c:pt>
                <c:pt idx="32">
                  <c:v>44381</c:v>
                </c:pt>
                <c:pt idx="33">
                  <c:v>44382</c:v>
                </c:pt>
                <c:pt idx="34">
                  <c:v>44383</c:v>
                </c:pt>
                <c:pt idx="35">
                  <c:v>44384</c:v>
                </c:pt>
                <c:pt idx="36">
                  <c:v>44385</c:v>
                </c:pt>
                <c:pt idx="37">
                  <c:v>44386</c:v>
                </c:pt>
                <c:pt idx="38">
                  <c:v>44387</c:v>
                </c:pt>
                <c:pt idx="39">
                  <c:v>44388</c:v>
                </c:pt>
                <c:pt idx="40">
                  <c:v>44389</c:v>
                </c:pt>
                <c:pt idx="41">
                  <c:v>44390</c:v>
                </c:pt>
                <c:pt idx="42">
                  <c:v>44391</c:v>
                </c:pt>
                <c:pt idx="43">
                  <c:v>44392</c:v>
                </c:pt>
                <c:pt idx="44">
                  <c:v>44393</c:v>
                </c:pt>
                <c:pt idx="45">
                  <c:v>44394</c:v>
                </c:pt>
                <c:pt idx="46">
                  <c:v>44395</c:v>
                </c:pt>
                <c:pt idx="47">
                  <c:v>44396</c:v>
                </c:pt>
                <c:pt idx="48">
                  <c:v>44397</c:v>
                </c:pt>
                <c:pt idx="49">
                  <c:v>44398</c:v>
                </c:pt>
                <c:pt idx="50">
                  <c:v>44399</c:v>
                </c:pt>
                <c:pt idx="51">
                  <c:v>44400</c:v>
                </c:pt>
                <c:pt idx="52">
                  <c:v>44401</c:v>
                </c:pt>
                <c:pt idx="53">
                  <c:v>44402</c:v>
                </c:pt>
                <c:pt idx="54">
                  <c:v>44403</c:v>
                </c:pt>
                <c:pt idx="55">
                  <c:v>44404</c:v>
                </c:pt>
                <c:pt idx="56">
                  <c:v>44405</c:v>
                </c:pt>
                <c:pt idx="57">
                  <c:v>44406</c:v>
                </c:pt>
                <c:pt idx="58">
                  <c:v>44407</c:v>
                </c:pt>
                <c:pt idx="59">
                  <c:v>44408</c:v>
                </c:pt>
                <c:pt idx="60">
                  <c:v>44409</c:v>
                </c:pt>
                <c:pt idx="61">
                  <c:v>44410</c:v>
                </c:pt>
                <c:pt idx="62">
                  <c:v>44411</c:v>
                </c:pt>
                <c:pt idx="63">
                  <c:v>44412</c:v>
                </c:pt>
                <c:pt idx="64">
                  <c:v>44413</c:v>
                </c:pt>
                <c:pt idx="65">
                  <c:v>44414</c:v>
                </c:pt>
                <c:pt idx="66">
                  <c:v>44415</c:v>
                </c:pt>
                <c:pt idx="67">
                  <c:v>44416</c:v>
                </c:pt>
                <c:pt idx="68">
                  <c:v>44417</c:v>
                </c:pt>
                <c:pt idx="69">
                  <c:v>44418</c:v>
                </c:pt>
                <c:pt idx="70">
                  <c:v>44419</c:v>
                </c:pt>
                <c:pt idx="71">
                  <c:v>44420</c:v>
                </c:pt>
                <c:pt idx="72">
                  <c:v>44421</c:v>
                </c:pt>
                <c:pt idx="73">
                  <c:v>44422</c:v>
                </c:pt>
                <c:pt idx="74">
                  <c:v>44423</c:v>
                </c:pt>
                <c:pt idx="75">
                  <c:v>44424</c:v>
                </c:pt>
                <c:pt idx="76">
                  <c:v>44425</c:v>
                </c:pt>
                <c:pt idx="77">
                  <c:v>44426</c:v>
                </c:pt>
                <c:pt idx="78">
                  <c:v>44427</c:v>
                </c:pt>
                <c:pt idx="79">
                  <c:v>44428</c:v>
                </c:pt>
                <c:pt idx="80">
                  <c:v>44429</c:v>
                </c:pt>
                <c:pt idx="81">
                  <c:v>44430</c:v>
                </c:pt>
                <c:pt idx="82">
                  <c:v>44431</c:v>
                </c:pt>
                <c:pt idx="83">
                  <c:v>44432</c:v>
                </c:pt>
                <c:pt idx="84">
                  <c:v>44433</c:v>
                </c:pt>
                <c:pt idx="85">
                  <c:v>44434</c:v>
                </c:pt>
                <c:pt idx="86">
                  <c:v>44435</c:v>
                </c:pt>
                <c:pt idx="87">
                  <c:v>44436</c:v>
                </c:pt>
                <c:pt idx="88">
                  <c:v>44437</c:v>
                </c:pt>
                <c:pt idx="89">
                  <c:v>44438</c:v>
                </c:pt>
                <c:pt idx="90">
                  <c:v>44439</c:v>
                </c:pt>
                <c:pt idx="91">
                  <c:v>44440</c:v>
                </c:pt>
                <c:pt idx="92">
                  <c:v>44441</c:v>
                </c:pt>
                <c:pt idx="93">
                  <c:v>44442</c:v>
                </c:pt>
                <c:pt idx="94">
                  <c:v>44443</c:v>
                </c:pt>
                <c:pt idx="95">
                  <c:v>44444</c:v>
                </c:pt>
                <c:pt idx="96">
                  <c:v>44445</c:v>
                </c:pt>
                <c:pt idx="97">
                  <c:v>44446</c:v>
                </c:pt>
                <c:pt idx="98">
                  <c:v>44447</c:v>
                </c:pt>
                <c:pt idx="99">
                  <c:v>44448</c:v>
                </c:pt>
                <c:pt idx="100">
                  <c:v>44449</c:v>
                </c:pt>
                <c:pt idx="101">
                  <c:v>44450</c:v>
                </c:pt>
                <c:pt idx="102">
                  <c:v>44451</c:v>
                </c:pt>
                <c:pt idx="103">
                  <c:v>44452</c:v>
                </c:pt>
                <c:pt idx="104">
                  <c:v>44453</c:v>
                </c:pt>
                <c:pt idx="105">
                  <c:v>44454</c:v>
                </c:pt>
                <c:pt idx="106">
                  <c:v>44455</c:v>
                </c:pt>
                <c:pt idx="107">
                  <c:v>44456</c:v>
                </c:pt>
                <c:pt idx="108">
                  <c:v>44457</c:v>
                </c:pt>
                <c:pt idx="109">
                  <c:v>44458</c:v>
                </c:pt>
                <c:pt idx="110">
                  <c:v>44459</c:v>
                </c:pt>
                <c:pt idx="111">
                  <c:v>44460</c:v>
                </c:pt>
                <c:pt idx="112">
                  <c:v>44461</c:v>
                </c:pt>
                <c:pt idx="113">
                  <c:v>44462</c:v>
                </c:pt>
                <c:pt idx="114">
                  <c:v>44463</c:v>
                </c:pt>
                <c:pt idx="115">
                  <c:v>44464</c:v>
                </c:pt>
                <c:pt idx="116">
                  <c:v>44465</c:v>
                </c:pt>
                <c:pt idx="117">
                  <c:v>44466</c:v>
                </c:pt>
                <c:pt idx="118">
                  <c:v>44467</c:v>
                </c:pt>
                <c:pt idx="119">
                  <c:v>44468</c:v>
                </c:pt>
                <c:pt idx="120">
                  <c:v>44469</c:v>
                </c:pt>
                <c:pt idx="121">
                  <c:v>44470</c:v>
                </c:pt>
                <c:pt idx="122">
                  <c:v>44471</c:v>
                </c:pt>
                <c:pt idx="123">
                  <c:v>44472</c:v>
                </c:pt>
                <c:pt idx="124">
                  <c:v>44473</c:v>
                </c:pt>
                <c:pt idx="125">
                  <c:v>44474</c:v>
                </c:pt>
                <c:pt idx="126">
                  <c:v>44475</c:v>
                </c:pt>
                <c:pt idx="127">
                  <c:v>44476</c:v>
                </c:pt>
                <c:pt idx="128">
                  <c:v>44477</c:v>
                </c:pt>
                <c:pt idx="129">
                  <c:v>44478</c:v>
                </c:pt>
                <c:pt idx="130">
                  <c:v>44479</c:v>
                </c:pt>
                <c:pt idx="131">
                  <c:v>44480</c:v>
                </c:pt>
                <c:pt idx="132">
                  <c:v>44481</c:v>
                </c:pt>
                <c:pt idx="133">
                  <c:v>44482</c:v>
                </c:pt>
                <c:pt idx="134">
                  <c:v>44483</c:v>
                </c:pt>
                <c:pt idx="135">
                  <c:v>44484</c:v>
                </c:pt>
                <c:pt idx="136">
                  <c:v>44485</c:v>
                </c:pt>
                <c:pt idx="137">
                  <c:v>44486</c:v>
                </c:pt>
                <c:pt idx="138">
                  <c:v>44487</c:v>
                </c:pt>
                <c:pt idx="139">
                  <c:v>44488</c:v>
                </c:pt>
              </c:numCache>
            </c:numRef>
          </c:cat>
          <c:val>
            <c:numRef>
              <c:f>Sheet1!$C$6:$GF$6</c:f>
              <c:numCache>
                <c:formatCode>General</c:formatCode>
                <c:ptCount val="18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C10-4D34-AA39-FEFBA0D267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7</c:v>
                </c:pt>
                <c:pt idx="1">
                  <c:v>15</c:v>
                </c:pt>
                <c:pt idx="2">
                  <c:v>15</c:v>
                </c:pt>
                <c:pt idx="3">
                  <c:v>14</c:v>
                </c:pt>
                <c:pt idx="4">
                  <c:v>11</c:v>
                </c:pt>
                <c:pt idx="5">
                  <c:v>11</c:v>
                </c:pt>
                <c:pt idx="6">
                  <c:v>11</c:v>
                </c:pt>
                <c:pt idx="7">
                  <c:v>11</c:v>
                </c:pt>
                <c:pt idx="8">
                  <c:v>10</c:v>
                </c:pt>
                <c:pt idx="9">
                  <c:v>10</c:v>
                </c:pt>
                <c:pt idx="10">
                  <c:v>7</c:v>
                </c:pt>
                <c:pt idx="11">
                  <c:v>8</c:v>
                </c:pt>
                <c:pt idx="12">
                  <c:v>7</c:v>
                </c:pt>
                <c:pt idx="13">
                  <c:v>6</c:v>
                </c:pt>
                <c:pt idx="14">
                  <c:v>2</c:v>
                </c:pt>
                <c:pt idx="15">
                  <c:v>1</c:v>
                </c:pt>
                <c:pt idx="16">
                  <c:v>0</c:v>
                </c:pt>
                <c:pt idx="17">
                  <c:v>1</c:v>
                </c:pt>
                <c:pt idx="18">
                  <c:v>2</c:v>
                </c:pt>
                <c:pt idx="19">
                  <c:v>3</c:v>
                </c:pt>
                <c:pt idx="20">
                  <c:v>3</c:v>
                </c:pt>
                <c:pt idx="21">
                  <c:v>3</c:v>
                </c:pt>
                <c:pt idx="22">
                  <c:v>3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3</c:v>
                </c:pt>
                <c:pt idx="28">
                  <c:v>3</c:v>
                </c:pt>
                <c:pt idx="29">
                  <c:v>3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1</c:v>
                </c:pt>
                <c:pt idx="38">
                  <c:v>1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3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0</c:v>
                </c:pt>
                <c:pt idx="76">
                  <c:v>0</c:v>
                </c:pt>
                <c:pt idx="77">
                  <c:v>1</c:v>
                </c:pt>
                <c:pt idx="78">
                  <c:v>1</c:v>
                </c:pt>
                <c:pt idx="79">
                  <c:v>1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1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1</c:v>
                </c:pt>
                <c:pt idx="93">
                  <c:v>1</c:v>
                </c:pt>
                <c:pt idx="94">
                  <c:v>2</c:v>
                </c:pt>
                <c:pt idx="95">
                  <c:v>2</c:v>
                </c:pt>
                <c:pt idx="96">
                  <c:v>2</c:v>
                </c:pt>
                <c:pt idx="97">
                  <c:v>2</c:v>
                </c:pt>
                <c:pt idx="98">
                  <c:v>3</c:v>
                </c:pt>
                <c:pt idx="99">
                  <c:v>3</c:v>
                </c:pt>
                <c:pt idx="100">
                  <c:v>3</c:v>
                </c:pt>
                <c:pt idx="101">
                  <c:v>3</c:v>
                </c:pt>
                <c:pt idx="102">
                  <c:v>4</c:v>
                </c:pt>
                <c:pt idx="103">
                  <c:v>4</c:v>
                </c:pt>
                <c:pt idx="104">
                  <c:v>3</c:v>
                </c:pt>
                <c:pt idx="105">
                  <c:v>2</c:v>
                </c:pt>
                <c:pt idx="106">
                  <c:v>1</c:v>
                </c:pt>
                <c:pt idx="107">
                  <c:v>3</c:v>
                </c:pt>
                <c:pt idx="108">
                  <c:v>5</c:v>
                </c:pt>
                <c:pt idx="109">
                  <c:v>4</c:v>
                </c:pt>
                <c:pt idx="110">
                  <c:v>3</c:v>
                </c:pt>
                <c:pt idx="111">
                  <c:v>3</c:v>
                </c:pt>
                <c:pt idx="112">
                  <c:v>3</c:v>
                </c:pt>
                <c:pt idx="113">
                  <c:v>3</c:v>
                </c:pt>
                <c:pt idx="114">
                  <c:v>3</c:v>
                </c:pt>
                <c:pt idx="115">
                  <c:v>3</c:v>
                </c:pt>
                <c:pt idx="116">
                  <c:v>4</c:v>
                </c:pt>
                <c:pt idx="117">
                  <c:v>4</c:v>
                </c:pt>
                <c:pt idx="118">
                  <c:v>5</c:v>
                </c:pt>
                <c:pt idx="119">
                  <c:v>6</c:v>
                </c:pt>
                <c:pt idx="120">
                  <c:v>7</c:v>
                </c:pt>
                <c:pt idx="121">
                  <c:v>6</c:v>
                </c:pt>
                <c:pt idx="122">
                  <c:v>6</c:v>
                </c:pt>
                <c:pt idx="123">
                  <c:v>5</c:v>
                </c:pt>
                <c:pt idx="124">
                  <c:v>5</c:v>
                </c:pt>
                <c:pt idx="125">
                  <c:v>5</c:v>
                </c:pt>
                <c:pt idx="126">
                  <c:v>9</c:v>
                </c:pt>
                <c:pt idx="127">
                  <c:v>12</c:v>
                </c:pt>
                <c:pt idx="128">
                  <c:v>10</c:v>
                </c:pt>
                <c:pt idx="129">
                  <c:v>10</c:v>
                </c:pt>
                <c:pt idx="130">
                  <c:v>12</c:v>
                </c:pt>
                <c:pt idx="131">
                  <c:v>13</c:v>
                </c:pt>
                <c:pt idx="132">
                  <c:v>13</c:v>
                </c:pt>
                <c:pt idx="133">
                  <c:v>16</c:v>
                </c:pt>
                <c:pt idx="134">
                  <c:v>15</c:v>
                </c:pt>
                <c:pt idx="135">
                  <c:v>14</c:v>
                </c:pt>
                <c:pt idx="136">
                  <c:v>14</c:v>
                </c:pt>
                <c:pt idx="137">
                  <c:v>14</c:v>
                </c:pt>
                <c:pt idx="138">
                  <c:v>18</c:v>
                </c:pt>
                <c:pt idx="139">
                  <c:v>19</c:v>
                </c:pt>
                <c:pt idx="140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89-48EC-BA33-19A27E736B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89-48EC-BA33-19A27E736BC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689-48EC-BA33-19A27E736BC8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689-48EC-BA33-19A27E736B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9</c:v>
                </c:pt>
                <c:pt idx="1">
                  <c:v>6</c:v>
                </c:pt>
                <c:pt idx="2">
                  <c:v>5</c:v>
                </c:pt>
                <c:pt idx="3">
                  <c:v>5</c:v>
                </c:pt>
                <c:pt idx="4">
                  <c:v>4</c:v>
                </c:pt>
                <c:pt idx="5">
                  <c:v>4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4</c:v>
                </c:pt>
                <c:pt idx="10">
                  <c:v>4</c:v>
                </c:pt>
                <c:pt idx="11">
                  <c:v>4</c:v>
                </c:pt>
                <c:pt idx="12">
                  <c:v>4</c:v>
                </c:pt>
                <c:pt idx="13">
                  <c:v>3</c:v>
                </c:pt>
                <c:pt idx="14">
                  <c:v>3</c:v>
                </c:pt>
                <c:pt idx="15">
                  <c:v>2</c:v>
                </c:pt>
                <c:pt idx="16">
                  <c:v>2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1</c:v>
                </c:pt>
                <c:pt idx="42">
                  <c:v>1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1</c:v>
                </c:pt>
                <c:pt idx="80">
                  <c:v>1</c:v>
                </c:pt>
                <c:pt idx="81">
                  <c:v>1</c:v>
                </c:pt>
                <c:pt idx="82">
                  <c:v>1</c:v>
                </c:pt>
                <c:pt idx="83">
                  <c:v>1</c:v>
                </c:pt>
                <c:pt idx="84">
                  <c:v>1</c:v>
                </c:pt>
                <c:pt idx="85">
                  <c:v>1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1</c:v>
                </c:pt>
                <c:pt idx="92">
                  <c:v>2</c:v>
                </c:pt>
                <c:pt idx="93">
                  <c:v>2</c:v>
                </c:pt>
                <c:pt idx="94">
                  <c:v>3</c:v>
                </c:pt>
                <c:pt idx="95">
                  <c:v>2</c:v>
                </c:pt>
                <c:pt idx="96">
                  <c:v>2</c:v>
                </c:pt>
                <c:pt idx="97">
                  <c:v>2</c:v>
                </c:pt>
                <c:pt idx="98">
                  <c:v>2</c:v>
                </c:pt>
                <c:pt idx="99">
                  <c:v>1</c:v>
                </c:pt>
                <c:pt idx="100">
                  <c:v>2</c:v>
                </c:pt>
                <c:pt idx="101">
                  <c:v>1</c:v>
                </c:pt>
                <c:pt idx="102">
                  <c:v>1</c:v>
                </c:pt>
                <c:pt idx="103">
                  <c:v>1</c:v>
                </c:pt>
                <c:pt idx="104">
                  <c:v>2</c:v>
                </c:pt>
                <c:pt idx="105">
                  <c:v>3</c:v>
                </c:pt>
                <c:pt idx="106">
                  <c:v>3</c:v>
                </c:pt>
                <c:pt idx="107">
                  <c:v>2</c:v>
                </c:pt>
                <c:pt idx="108">
                  <c:v>1</c:v>
                </c:pt>
                <c:pt idx="109">
                  <c:v>0</c:v>
                </c:pt>
                <c:pt idx="110">
                  <c:v>0</c:v>
                </c:pt>
                <c:pt idx="111">
                  <c:v>1</c:v>
                </c:pt>
                <c:pt idx="112">
                  <c:v>0</c:v>
                </c:pt>
                <c:pt idx="113">
                  <c:v>1</c:v>
                </c:pt>
                <c:pt idx="114">
                  <c:v>1</c:v>
                </c:pt>
                <c:pt idx="115">
                  <c:v>1</c:v>
                </c:pt>
                <c:pt idx="116">
                  <c:v>2</c:v>
                </c:pt>
                <c:pt idx="117">
                  <c:v>2</c:v>
                </c:pt>
                <c:pt idx="118">
                  <c:v>2</c:v>
                </c:pt>
                <c:pt idx="119">
                  <c:v>2</c:v>
                </c:pt>
                <c:pt idx="120">
                  <c:v>2</c:v>
                </c:pt>
                <c:pt idx="121">
                  <c:v>1</c:v>
                </c:pt>
                <c:pt idx="122">
                  <c:v>1</c:v>
                </c:pt>
                <c:pt idx="123">
                  <c:v>1</c:v>
                </c:pt>
                <c:pt idx="124">
                  <c:v>3</c:v>
                </c:pt>
                <c:pt idx="125">
                  <c:v>3</c:v>
                </c:pt>
                <c:pt idx="126">
                  <c:v>2</c:v>
                </c:pt>
                <c:pt idx="127">
                  <c:v>3</c:v>
                </c:pt>
                <c:pt idx="128">
                  <c:v>3</c:v>
                </c:pt>
                <c:pt idx="129">
                  <c:v>4</c:v>
                </c:pt>
                <c:pt idx="130">
                  <c:v>4</c:v>
                </c:pt>
                <c:pt idx="131">
                  <c:v>3</c:v>
                </c:pt>
                <c:pt idx="132">
                  <c:v>3</c:v>
                </c:pt>
                <c:pt idx="133">
                  <c:v>7</c:v>
                </c:pt>
                <c:pt idx="134">
                  <c:v>8</c:v>
                </c:pt>
                <c:pt idx="135">
                  <c:v>8</c:v>
                </c:pt>
                <c:pt idx="136">
                  <c:v>8</c:v>
                </c:pt>
                <c:pt idx="137">
                  <c:v>6</c:v>
                </c:pt>
                <c:pt idx="138">
                  <c:v>6</c:v>
                </c:pt>
                <c:pt idx="139">
                  <c:v>8</c:v>
                </c:pt>
                <c:pt idx="140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49-4ED8-A312-E63B496938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649-4ED8-A312-E63B4969381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649-4ED8-A312-E63B49693818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649-4ED8-A312-E63B496938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2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8</c:v>
                </c:pt>
                <c:pt idx="5">
                  <c:v>7</c:v>
                </c:pt>
                <c:pt idx="6">
                  <c:v>6</c:v>
                </c:pt>
                <c:pt idx="7">
                  <c:v>7</c:v>
                </c:pt>
                <c:pt idx="8">
                  <c:v>5</c:v>
                </c:pt>
                <c:pt idx="9">
                  <c:v>6</c:v>
                </c:pt>
                <c:pt idx="10">
                  <c:v>5</c:v>
                </c:pt>
                <c:pt idx="11">
                  <c:v>5</c:v>
                </c:pt>
                <c:pt idx="12">
                  <c:v>5</c:v>
                </c:pt>
                <c:pt idx="13">
                  <c:v>5</c:v>
                </c:pt>
                <c:pt idx="14">
                  <c:v>4</c:v>
                </c:pt>
                <c:pt idx="15">
                  <c:v>4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3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1</c:v>
                </c:pt>
                <c:pt idx="68">
                  <c:v>1</c:v>
                </c:pt>
                <c:pt idx="69">
                  <c:v>1</c:v>
                </c:pt>
                <c:pt idx="70">
                  <c:v>1</c:v>
                </c:pt>
                <c:pt idx="71">
                  <c:v>1</c:v>
                </c:pt>
                <c:pt idx="72">
                  <c:v>1</c:v>
                </c:pt>
                <c:pt idx="73">
                  <c:v>1</c:v>
                </c:pt>
                <c:pt idx="74">
                  <c:v>1</c:v>
                </c:pt>
                <c:pt idx="75">
                  <c:v>1</c:v>
                </c:pt>
                <c:pt idx="76">
                  <c:v>1</c:v>
                </c:pt>
                <c:pt idx="77">
                  <c:v>1</c:v>
                </c:pt>
                <c:pt idx="78">
                  <c:v>1</c:v>
                </c:pt>
                <c:pt idx="79">
                  <c:v>1</c:v>
                </c:pt>
                <c:pt idx="80">
                  <c:v>2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2</c:v>
                </c:pt>
                <c:pt idx="85">
                  <c:v>1</c:v>
                </c:pt>
                <c:pt idx="86">
                  <c:v>1</c:v>
                </c:pt>
                <c:pt idx="87">
                  <c:v>1</c:v>
                </c:pt>
                <c:pt idx="88">
                  <c:v>1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1</c:v>
                </c:pt>
                <c:pt idx="96">
                  <c:v>1</c:v>
                </c:pt>
                <c:pt idx="97">
                  <c:v>1</c:v>
                </c:pt>
                <c:pt idx="98">
                  <c:v>1</c:v>
                </c:pt>
                <c:pt idx="99">
                  <c:v>1</c:v>
                </c:pt>
                <c:pt idx="100">
                  <c:v>2</c:v>
                </c:pt>
                <c:pt idx="101">
                  <c:v>2</c:v>
                </c:pt>
                <c:pt idx="102">
                  <c:v>2</c:v>
                </c:pt>
                <c:pt idx="103">
                  <c:v>2</c:v>
                </c:pt>
                <c:pt idx="104">
                  <c:v>2</c:v>
                </c:pt>
                <c:pt idx="105">
                  <c:v>1</c:v>
                </c:pt>
                <c:pt idx="106">
                  <c:v>0</c:v>
                </c:pt>
                <c:pt idx="107">
                  <c:v>0</c:v>
                </c:pt>
                <c:pt idx="108">
                  <c:v>1</c:v>
                </c:pt>
                <c:pt idx="109">
                  <c:v>1</c:v>
                </c:pt>
                <c:pt idx="110">
                  <c:v>1</c:v>
                </c:pt>
                <c:pt idx="111">
                  <c:v>1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1</c:v>
                </c:pt>
                <c:pt idx="116">
                  <c:v>1</c:v>
                </c:pt>
                <c:pt idx="117">
                  <c:v>1</c:v>
                </c:pt>
                <c:pt idx="118">
                  <c:v>1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1</c:v>
                </c:pt>
                <c:pt idx="128">
                  <c:v>2</c:v>
                </c:pt>
                <c:pt idx="129">
                  <c:v>3</c:v>
                </c:pt>
                <c:pt idx="130">
                  <c:v>4</c:v>
                </c:pt>
                <c:pt idx="131">
                  <c:v>3</c:v>
                </c:pt>
                <c:pt idx="132">
                  <c:v>5</c:v>
                </c:pt>
                <c:pt idx="133">
                  <c:v>4</c:v>
                </c:pt>
                <c:pt idx="134">
                  <c:v>6</c:v>
                </c:pt>
                <c:pt idx="135">
                  <c:v>6</c:v>
                </c:pt>
                <c:pt idx="136">
                  <c:v>6</c:v>
                </c:pt>
                <c:pt idx="137">
                  <c:v>6</c:v>
                </c:pt>
                <c:pt idx="138">
                  <c:v>7</c:v>
                </c:pt>
                <c:pt idx="139">
                  <c:v>8</c:v>
                </c:pt>
                <c:pt idx="140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321-4139-88D6-247F1D25A6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321-4139-88D6-247F1D25A657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321-4139-88D6-247F1D25A657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321-4139-88D6-247F1D25A6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9</c:v>
                </c:pt>
                <c:pt idx="1">
                  <c:v>12</c:v>
                </c:pt>
                <c:pt idx="2">
                  <c:v>11</c:v>
                </c:pt>
                <c:pt idx="3">
                  <c:v>10</c:v>
                </c:pt>
                <c:pt idx="4">
                  <c:v>8</c:v>
                </c:pt>
                <c:pt idx="5">
                  <c:v>8</c:v>
                </c:pt>
                <c:pt idx="6">
                  <c:v>6</c:v>
                </c:pt>
                <c:pt idx="7">
                  <c:v>5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3</c:v>
                </c:pt>
                <c:pt idx="12">
                  <c:v>3</c:v>
                </c:pt>
                <c:pt idx="13">
                  <c:v>4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2</c:v>
                </c:pt>
                <c:pt idx="41">
                  <c:v>2</c:v>
                </c:pt>
                <c:pt idx="42">
                  <c:v>1</c:v>
                </c:pt>
                <c:pt idx="43">
                  <c:v>1</c:v>
                </c:pt>
                <c:pt idx="44">
                  <c:v>0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0</c:v>
                </c:pt>
                <c:pt idx="50">
                  <c:v>2</c:v>
                </c:pt>
                <c:pt idx="51">
                  <c:v>2</c:v>
                </c:pt>
                <c:pt idx="52">
                  <c:v>2</c:v>
                </c:pt>
                <c:pt idx="53">
                  <c:v>2</c:v>
                </c:pt>
                <c:pt idx="54">
                  <c:v>2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1</c:v>
                </c:pt>
                <c:pt idx="59">
                  <c:v>1</c:v>
                </c:pt>
                <c:pt idx="60">
                  <c:v>1</c:v>
                </c:pt>
                <c:pt idx="61">
                  <c:v>2</c:v>
                </c:pt>
                <c:pt idx="62">
                  <c:v>1</c:v>
                </c:pt>
                <c:pt idx="63">
                  <c:v>1</c:v>
                </c:pt>
                <c:pt idx="64">
                  <c:v>2</c:v>
                </c:pt>
                <c:pt idx="65">
                  <c:v>1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1</c:v>
                </c:pt>
                <c:pt idx="78">
                  <c:v>1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1</c:v>
                </c:pt>
                <c:pt idx="84">
                  <c:v>1</c:v>
                </c:pt>
                <c:pt idx="85">
                  <c:v>1</c:v>
                </c:pt>
                <c:pt idx="86">
                  <c:v>2</c:v>
                </c:pt>
                <c:pt idx="87">
                  <c:v>3</c:v>
                </c:pt>
                <c:pt idx="88">
                  <c:v>3</c:v>
                </c:pt>
                <c:pt idx="89">
                  <c:v>1</c:v>
                </c:pt>
                <c:pt idx="90">
                  <c:v>1</c:v>
                </c:pt>
                <c:pt idx="91">
                  <c:v>1</c:v>
                </c:pt>
                <c:pt idx="92">
                  <c:v>1</c:v>
                </c:pt>
                <c:pt idx="93">
                  <c:v>1</c:v>
                </c:pt>
                <c:pt idx="94">
                  <c:v>1</c:v>
                </c:pt>
                <c:pt idx="95">
                  <c:v>1</c:v>
                </c:pt>
                <c:pt idx="96">
                  <c:v>0</c:v>
                </c:pt>
                <c:pt idx="97">
                  <c:v>2</c:v>
                </c:pt>
                <c:pt idx="98">
                  <c:v>1</c:v>
                </c:pt>
                <c:pt idx="99">
                  <c:v>1</c:v>
                </c:pt>
                <c:pt idx="100">
                  <c:v>1</c:v>
                </c:pt>
                <c:pt idx="101">
                  <c:v>2</c:v>
                </c:pt>
                <c:pt idx="102">
                  <c:v>4</c:v>
                </c:pt>
                <c:pt idx="103">
                  <c:v>6</c:v>
                </c:pt>
                <c:pt idx="104">
                  <c:v>6</c:v>
                </c:pt>
                <c:pt idx="105">
                  <c:v>6</c:v>
                </c:pt>
                <c:pt idx="106">
                  <c:v>6</c:v>
                </c:pt>
                <c:pt idx="107">
                  <c:v>8</c:v>
                </c:pt>
                <c:pt idx="108">
                  <c:v>8</c:v>
                </c:pt>
                <c:pt idx="109">
                  <c:v>8</c:v>
                </c:pt>
                <c:pt idx="110">
                  <c:v>9</c:v>
                </c:pt>
                <c:pt idx="111">
                  <c:v>9</c:v>
                </c:pt>
                <c:pt idx="112">
                  <c:v>7</c:v>
                </c:pt>
                <c:pt idx="113">
                  <c:v>6</c:v>
                </c:pt>
                <c:pt idx="114">
                  <c:v>6</c:v>
                </c:pt>
                <c:pt idx="115">
                  <c:v>7</c:v>
                </c:pt>
                <c:pt idx="116">
                  <c:v>7</c:v>
                </c:pt>
                <c:pt idx="117">
                  <c:v>5</c:v>
                </c:pt>
                <c:pt idx="118">
                  <c:v>5</c:v>
                </c:pt>
                <c:pt idx="119">
                  <c:v>6</c:v>
                </c:pt>
                <c:pt idx="120">
                  <c:v>7</c:v>
                </c:pt>
                <c:pt idx="121">
                  <c:v>7</c:v>
                </c:pt>
                <c:pt idx="122">
                  <c:v>4</c:v>
                </c:pt>
                <c:pt idx="123">
                  <c:v>4</c:v>
                </c:pt>
                <c:pt idx="124">
                  <c:v>3</c:v>
                </c:pt>
                <c:pt idx="125">
                  <c:v>5</c:v>
                </c:pt>
                <c:pt idx="126">
                  <c:v>6</c:v>
                </c:pt>
                <c:pt idx="127">
                  <c:v>8</c:v>
                </c:pt>
                <c:pt idx="128">
                  <c:v>8</c:v>
                </c:pt>
                <c:pt idx="129">
                  <c:v>11</c:v>
                </c:pt>
                <c:pt idx="130">
                  <c:v>11</c:v>
                </c:pt>
                <c:pt idx="131">
                  <c:v>10</c:v>
                </c:pt>
                <c:pt idx="132">
                  <c:v>12</c:v>
                </c:pt>
                <c:pt idx="133">
                  <c:v>15</c:v>
                </c:pt>
                <c:pt idx="134">
                  <c:v>16</c:v>
                </c:pt>
                <c:pt idx="135">
                  <c:v>16</c:v>
                </c:pt>
                <c:pt idx="136">
                  <c:v>15</c:v>
                </c:pt>
                <c:pt idx="137">
                  <c:v>13</c:v>
                </c:pt>
                <c:pt idx="138">
                  <c:v>14</c:v>
                </c:pt>
                <c:pt idx="139">
                  <c:v>16</c:v>
                </c:pt>
                <c:pt idx="140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53-458F-98A4-59C0F39017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853-458F-98A4-59C0F390179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853-458F-98A4-59C0F3901798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853-458F-98A4-59C0F39017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</c:v>
                </c:pt>
                <c:pt idx="1">
                  <c:v>12</c:v>
                </c:pt>
                <c:pt idx="2">
                  <c:v>19</c:v>
                </c:pt>
                <c:pt idx="3">
                  <c:v>24</c:v>
                </c:pt>
                <c:pt idx="4">
                  <c:v>25</c:v>
                </c:pt>
                <c:pt idx="5">
                  <c:v>28</c:v>
                </c:pt>
                <c:pt idx="6">
                  <c:v>33</c:v>
                </c:pt>
                <c:pt idx="7">
                  <c:v>39</c:v>
                </c:pt>
                <c:pt idx="8">
                  <c:v>43</c:v>
                </c:pt>
                <c:pt idx="9">
                  <c:v>47</c:v>
                </c:pt>
                <c:pt idx="10">
                  <c:v>47</c:v>
                </c:pt>
                <c:pt idx="11">
                  <c:v>51</c:v>
                </c:pt>
                <c:pt idx="12">
                  <c:v>51</c:v>
                </c:pt>
                <c:pt idx="13">
                  <c:v>53</c:v>
                </c:pt>
                <c:pt idx="14">
                  <c:v>54</c:v>
                </c:pt>
                <c:pt idx="15">
                  <c:v>55</c:v>
                </c:pt>
                <c:pt idx="16">
                  <c:v>59</c:v>
                </c:pt>
                <c:pt idx="17">
                  <c:v>63</c:v>
                </c:pt>
                <c:pt idx="18">
                  <c:v>64</c:v>
                </c:pt>
                <c:pt idx="19">
                  <c:v>66</c:v>
                </c:pt>
                <c:pt idx="20">
                  <c:v>66</c:v>
                </c:pt>
                <c:pt idx="21">
                  <c:v>66</c:v>
                </c:pt>
                <c:pt idx="22">
                  <c:v>66</c:v>
                </c:pt>
                <c:pt idx="23">
                  <c:v>68</c:v>
                </c:pt>
                <c:pt idx="24">
                  <c:v>71</c:v>
                </c:pt>
                <c:pt idx="25">
                  <c:v>71</c:v>
                </c:pt>
                <c:pt idx="26">
                  <c:v>71</c:v>
                </c:pt>
                <c:pt idx="27">
                  <c:v>74</c:v>
                </c:pt>
                <c:pt idx="28">
                  <c:v>75</c:v>
                </c:pt>
                <c:pt idx="29">
                  <c:v>77</c:v>
                </c:pt>
                <c:pt idx="30">
                  <c:v>79</c:v>
                </c:pt>
                <c:pt idx="31">
                  <c:v>79</c:v>
                </c:pt>
                <c:pt idx="32">
                  <c:v>79</c:v>
                </c:pt>
                <c:pt idx="33">
                  <c:v>80</c:v>
                </c:pt>
                <c:pt idx="34">
                  <c:v>82</c:v>
                </c:pt>
                <c:pt idx="35">
                  <c:v>82</c:v>
                </c:pt>
                <c:pt idx="36">
                  <c:v>83</c:v>
                </c:pt>
                <c:pt idx="37">
                  <c:v>84</c:v>
                </c:pt>
                <c:pt idx="38">
                  <c:v>85</c:v>
                </c:pt>
                <c:pt idx="39">
                  <c:v>86</c:v>
                </c:pt>
                <c:pt idx="40">
                  <c:v>87</c:v>
                </c:pt>
                <c:pt idx="41">
                  <c:v>89</c:v>
                </c:pt>
                <c:pt idx="42">
                  <c:v>90</c:v>
                </c:pt>
                <c:pt idx="43">
                  <c:v>93</c:v>
                </c:pt>
                <c:pt idx="44">
                  <c:v>94</c:v>
                </c:pt>
                <c:pt idx="45">
                  <c:v>96</c:v>
                </c:pt>
                <c:pt idx="46">
                  <c:v>97</c:v>
                </c:pt>
                <c:pt idx="47">
                  <c:v>98</c:v>
                </c:pt>
                <c:pt idx="48">
                  <c:v>100</c:v>
                </c:pt>
                <c:pt idx="49">
                  <c:v>101</c:v>
                </c:pt>
                <c:pt idx="50">
                  <c:v>103</c:v>
                </c:pt>
                <c:pt idx="51">
                  <c:v>106</c:v>
                </c:pt>
                <c:pt idx="52">
                  <c:v>107</c:v>
                </c:pt>
                <c:pt idx="53">
                  <c:v>107</c:v>
                </c:pt>
                <c:pt idx="54">
                  <c:v>108</c:v>
                </c:pt>
                <c:pt idx="55">
                  <c:v>109</c:v>
                </c:pt>
                <c:pt idx="56">
                  <c:v>110</c:v>
                </c:pt>
                <c:pt idx="57">
                  <c:v>111</c:v>
                </c:pt>
                <c:pt idx="58">
                  <c:v>115</c:v>
                </c:pt>
                <c:pt idx="59">
                  <c:v>118</c:v>
                </c:pt>
                <c:pt idx="60">
                  <c:v>120</c:v>
                </c:pt>
                <c:pt idx="61">
                  <c:v>121</c:v>
                </c:pt>
                <c:pt idx="62">
                  <c:v>121</c:v>
                </c:pt>
                <c:pt idx="63">
                  <c:v>124</c:v>
                </c:pt>
                <c:pt idx="64">
                  <c:v>125</c:v>
                </c:pt>
                <c:pt idx="65">
                  <c:v>125</c:v>
                </c:pt>
                <c:pt idx="66">
                  <c:v>128</c:v>
                </c:pt>
                <c:pt idx="67">
                  <c:v>130</c:v>
                </c:pt>
                <c:pt idx="68">
                  <c:v>133</c:v>
                </c:pt>
                <c:pt idx="69">
                  <c:v>135</c:v>
                </c:pt>
                <c:pt idx="70">
                  <c:v>138</c:v>
                </c:pt>
                <c:pt idx="71">
                  <c:v>141</c:v>
                </c:pt>
                <c:pt idx="72">
                  <c:v>143</c:v>
                </c:pt>
                <c:pt idx="73">
                  <c:v>143</c:v>
                </c:pt>
                <c:pt idx="74">
                  <c:v>145</c:v>
                </c:pt>
                <c:pt idx="75">
                  <c:v>146</c:v>
                </c:pt>
                <c:pt idx="76">
                  <c:v>149</c:v>
                </c:pt>
                <c:pt idx="77">
                  <c:v>153</c:v>
                </c:pt>
                <c:pt idx="78">
                  <c:v>156</c:v>
                </c:pt>
                <c:pt idx="79">
                  <c:v>160</c:v>
                </c:pt>
                <c:pt idx="80">
                  <c:v>164</c:v>
                </c:pt>
                <c:pt idx="81">
                  <c:v>165</c:v>
                </c:pt>
                <c:pt idx="82">
                  <c:v>166</c:v>
                </c:pt>
                <c:pt idx="83">
                  <c:v>169</c:v>
                </c:pt>
                <c:pt idx="84">
                  <c:v>171</c:v>
                </c:pt>
                <c:pt idx="85">
                  <c:v>173</c:v>
                </c:pt>
                <c:pt idx="86">
                  <c:v>174</c:v>
                </c:pt>
                <c:pt idx="87">
                  <c:v>177</c:v>
                </c:pt>
                <c:pt idx="88">
                  <c:v>178</c:v>
                </c:pt>
                <c:pt idx="89">
                  <c:v>178</c:v>
                </c:pt>
                <c:pt idx="90">
                  <c:v>178</c:v>
                </c:pt>
                <c:pt idx="91">
                  <c:v>180</c:v>
                </c:pt>
                <c:pt idx="92">
                  <c:v>183</c:v>
                </c:pt>
                <c:pt idx="93">
                  <c:v>184</c:v>
                </c:pt>
                <c:pt idx="94">
                  <c:v>188</c:v>
                </c:pt>
                <c:pt idx="95">
                  <c:v>191</c:v>
                </c:pt>
                <c:pt idx="96">
                  <c:v>193</c:v>
                </c:pt>
                <c:pt idx="97">
                  <c:v>199</c:v>
                </c:pt>
                <c:pt idx="98">
                  <c:v>203</c:v>
                </c:pt>
                <c:pt idx="99">
                  <c:v>204</c:v>
                </c:pt>
                <c:pt idx="100">
                  <c:v>206</c:v>
                </c:pt>
                <c:pt idx="101">
                  <c:v>210</c:v>
                </c:pt>
                <c:pt idx="102">
                  <c:v>213</c:v>
                </c:pt>
                <c:pt idx="103">
                  <c:v>217</c:v>
                </c:pt>
                <c:pt idx="104">
                  <c:v>226</c:v>
                </c:pt>
                <c:pt idx="105">
                  <c:v>235</c:v>
                </c:pt>
                <c:pt idx="106">
                  <c:v>238</c:v>
                </c:pt>
                <c:pt idx="107">
                  <c:v>245</c:v>
                </c:pt>
                <c:pt idx="108">
                  <c:v>250</c:v>
                </c:pt>
                <c:pt idx="109">
                  <c:v>253</c:v>
                </c:pt>
                <c:pt idx="110">
                  <c:v>258</c:v>
                </c:pt>
                <c:pt idx="111">
                  <c:v>262</c:v>
                </c:pt>
                <c:pt idx="112">
                  <c:v>266</c:v>
                </c:pt>
                <c:pt idx="113">
                  <c:v>268</c:v>
                </c:pt>
                <c:pt idx="114">
                  <c:v>273</c:v>
                </c:pt>
                <c:pt idx="115">
                  <c:v>280</c:v>
                </c:pt>
                <c:pt idx="116">
                  <c:v>287</c:v>
                </c:pt>
                <c:pt idx="117">
                  <c:v>288</c:v>
                </c:pt>
                <c:pt idx="118">
                  <c:v>291</c:v>
                </c:pt>
                <c:pt idx="119">
                  <c:v>297</c:v>
                </c:pt>
                <c:pt idx="120">
                  <c:v>301</c:v>
                </c:pt>
                <c:pt idx="121">
                  <c:v>307</c:v>
                </c:pt>
                <c:pt idx="122">
                  <c:v>312</c:v>
                </c:pt>
                <c:pt idx="123">
                  <c:v>317</c:v>
                </c:pt>
                <c:pt idx="124">
                  <c:v>324</c:v>
                </c:pt>
                <c:pt idx="125">
                  <c:v>332</c:v>
                </c:pt>
                <c:pt idx="126">
                  <c:v>350</c:v>
                </c:pt>
                <c:pt idx="127">
                  <c:v>372</c:v>
                </c:pt>
                <c:pt idx="128">
                  <c:v>376</c:v>
                </c:pt>
                <c:pt idx="129">
                  <c:v>384</c:v>
                </c:pt>
                <c:pt idx="130">
                  <c:v>391</c:v>
                </c:pt>
                <c:pt idx="131">
                  <c:v>398</c:v>
                </c:pt>
                <c:pt idx="132">
                  <c:v>421</c:v>
                </c:pt>
                <c:pt idx="133">
                  <c:v>436</c:v>
                </c:pt>
                <c:pt idx="134">
                  <c:v>444</c:v>
                </c:pt>
                <c:pt idx="135">
                  <c:v>461</c:v>
                </c:pt>
                <c:pt idx="136">
                  <c:v>471</c:v>
                </c:pt>
                <c:pt idx="137">
                  <c:v>476</c:v>
                </c:pt>
                <c:pt idx="138">
                  <c:v>485</c:v>
                </c:pt>
                <c:pt idx="139">
                  <c:v>503</c:v>
                </c:pt>
                <c:pt idx="140">
                  <c:v>5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08-4AD1-9874-A186BE69DB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908-4AD1-9874-A186BE69DB4A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908-4AD1-9874-A186BE69DB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1</c:v>
                </c:pt>
                <c:pt idx="2">
                  <c:v>6</c:v>
                </c:pt>
                <c:pt idx="3">
                  <c:v>8</c:v>
                </c:pt>
                <c:pt idx="4">
                  <c:v>9</c:v>
                </c:pt>
                <c:pt idx="5">
                  <c:v>11</c:v>
                </c:pt>
                <c:pt idx="6">
                  <c:v>11</c:v>
                </c:pt>
                <c:pt idx="7">
                  <c:v>13</c:v>
                </c:pt>
                <c:pt idx="8">
                  <c:v>14</c:v>
                </c:pt>
                <c:pt idx="9">
                  <c:v>15</c:v>
                </c:pt>
                <c:pt idx="10">
                  <c:v>15</c:v>
                </c:pt>
                <c:pt idx="11">
                  <c:v>15</c:v>
                </c:pt>
                <c:pt idx="12">
                  <c:v>15</c:v>
                </c:pt>
                <c:pt idx="13">
                  <c:v>15</c:v>
                </c:pt>
                <c:pt idx="14">
                  <c:v>15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7</c:v>
                </c:pt>
                <c:pt idx="19">
                  <c:v>17</c:v>
                </c:pt>
                <c:pt idx="20">
                  <c:v>17</c:v>
                </c:pt>
                <c:pt idx="21">
                  <c:v>17</c:v>
                </c:pt>
                <c:pt idx="22">
                  <c:v>17</c:v>
                </c:pt>
                <c:pt idx="23">
                  <c:v>17</c:v>
                </c:pt>
                <c:pt idx="24">
                  <c:v>20</c:v>
                </c:pt>
                <c:pt idx="25">
                  <c:v>20</c:v>
                </c:pt>
                <c:pt idx="26">
                  <c:v>20</c:v>
                </c:pt>
                <c:pt idx="27">
                  <c:v>22</c:v>
                </c:pt>
                <c:pt idx="28">
                  <c:v>23</c:v>
                </c:pt>
                <c:pt idx="29">
                  <c:v>25</c:v>
                </c:pt>
                <c:pt idx="30">
                  <c:v>26</c:v>
                </c:pt>
                <c:pt idx="31">
                  <c:v>26</c:v>
                </c:pt>
                <c:pt idx="32">
                  <c:v>26</c:v>
                </c:pt>
                <c:pt idx="33">
                  <c:v>26</c:v>
                </c:pt>
                <c:pt idx="34">
                  <c:v>28</c:v>
                </c:pt>
                <c:pt idx="35">
                  <c:v>28</c:v>
                </c:pt>
                <c:pt idx="36">
                  <c:v>29</c:v>
                </c:pt>
                <c:pt idx="37">
                  <c:v>30</c:v>
                </c:pt>
                <c:pt idx="38">
                  <c:v>31</c:v>
                </c:pt>
                <c:pt idx="39">
                  <c:v>31</c:v>
                </c:pt>
                <c:pt idx="40">
                  <c:v>31</c:v>
                </c:pt>
                <c:pt idx="41">
                  <c:v>31</c:v>
                </c:pt>
                <c:pt idx="42">
                  <c:v>31</c:v>
                </c:pt>
                <c:pt idx="43">
                  <c:v>32</c:v>
                </c:pt>
                <c:pt idx="44">
                  <c:v>33</c:v>
                </c:pt>
                <c:pt idx="45">
                  <c:v>34</c:v>
                </c:pt>
                <c:pt idx="46">
                  <c:v>35</c:v>
                </c:pt>
                <c:pt idx="47">
                  <c:v>36</c:v>
                </c:pt>
                <c:pt idx="48">
                  <c:v>37</c:v>
                </c:pt>
                <c:pt idx="49">
                  <c:v>37</c:v>
                </c:pt>
                <c:pt idx="50">
                  <c:v>37</c:v>
                </c:pt>
                <c:pt idx="51">
                  <c:v>40</c:v>
                </c:pt>
                <c:pt idx="52">
                  <c:v>41</c:v>
                </c:pt>
                <c:pt idx="53">
                  <c:v>41</c:v>
                </c:pt>
                <c:pt idx="54">
                  <c:v>41</c:v>
                </c:pt>
                <c:pt idx="55">
                  <c:v>41</c:v>
                </c:pt>
                <c:pt idx="56">
                  <c:v>41</c:v>
                </c:pt>
                <c:pt idx="57">
                  <c:v>42</c:v>
                </c:pt>
                <c:pt idx="58">
                  <c:v>43</c:v>
                </c:pt>
                <c:pt idx="59">
                  <c:v>44</c:v>
                </c:pt>
                <c:pt idx="60">
                  <c:v>44</c:v>
                </c:pt>
                <c:pt idx="61">
                  <c:v>44</c:v>
                </c:pt>
                <c:pt idx="62">
                  <c:v>44</c:v>
                </c:pt>
                <c:pt idx="63">
                  <c:v>45</c:v>
                </c:pt>
                <c:pt idx="64">
                  <c:v>45</c:v>
                </c:pt>
                <c:pt idx="65">
                  <c:v>45</c:v>
                </c:pt>
                <c:pt idx="66">
                  <c:v>45</c:v>
                </c:pt>
                <c:pt idx="67">
                  <c:v>46</c:v>
                </c:pt>
                <c:pt idx="68">
                  <c:v>46</c:v>
                </c:pt>
                <c:pt idx="69">
                  <c:v>46</c:v>
                </c:pt>
                <c:pt idx="70">
                  <c:v>48</c:v>
                </c:pt>
                <c:pt idx="71">
                  <c:v>48</c:v>
                </c:pt>
                <c:pt idx="72">
                  <c:v>48</c:v>
                </c:pt>
                <c:pt idx="73">
                  <c:v>48</c:v>
                </c:pt>
                <c:pt idx="74">
                  <c:v>49</c:v>
                </c:pt>
                <c:pt idx="75">
                  <c:v>49</c:v>
                </c:pt>
                <c:pt idx="76">
                  <c:v>50</c:v>
                </c:pt>
                <c:pt idx="77">
                  <c:v>51</c:v>
                </c:pt>
                <c:pt idx="78">
                  <c:v>53</c:v>
                </c:pt>
                <c:pt idx="79">
                  <c:v>54</c:v>
                </c:pt>
                <c:pt idx="80">
                  <c:v>54</c:v>
                </c:pt>
                <c:pt idx="81">
                  <c:v>55</c:v>
                </c:pt>
                <c:pt idx="82">
                  <c:v>56</c:v>
                </c:pt>
                <c:pt idx="83">
                  <c:v>57</c:v>
                </c:pt>
                <c:pt idx="84">
                  <c:v>59</c:v>
                </c:pt>
                <c:pt idx="85">
                  <c:v>60</c:v>
                </c:pt>
                <c:pt idx="86">
                  <c:v>60</c:v>
                </c:pt>
                <c:pt idx="87">
                  <c:v>61</c:v>
                </c:pt>
                <c:pt idx="88">
                  <c:v>62</c:v>
                </c:pt>
                <c:pt idx="89">
                  <c:v>62</c:v>
                </c:pt>
                <c:pt idx="90">
                  <c:v>62</c:v>
                </c:pt>
                <c:pt idx="91">
                  <c:v>62</c:v>
                </c:pt>
                <c:pt idx="92">
                  <c:v>63</c:v>
                </c:pt>
                <c:pt idx="93">
                  <c:v>63</c:v>
                </c:pt>
                <c:pt idx="94">
                  <c:v>64</c:v>
                </c:pt>
                <c:pt idx="95">
                  <c:v>65</c:v>
                </c:pt>
                <c:pt idx="96">
                  <c:v>67</c:v>
                </c:pt>
                <c:pt idx="97">
                  <c:v>69</c:v>
                </c:pt>
                <c:pt idx="98">
                  <c:v>70</c:v>
                </c:pt>
                <c:pt idx="99">
                  <c:v>70</c:v>
                </c:pt>
                <c:pt idx="100">
                  <c:v>70</c:v>
                </c:pt>
                <c:pt idx="101">
                  <c:v>72</c:v>
                </c:pt>
                <c:pt idx="102">
                  <c:v>72</c:v>
                </c:pt>
                <c:pt idx="103">
                  <c:v>73</c:v>
                </c:pt>
                <c:pt idx="104">
                  <c:v>76</c:v>
                </c:pt>
                <c:pt idx="105">
                  <c:v>78</c:v>
                </c:pt>
                <c:pt idx="106">
                  <c:v>78</c:v>
                </c:pt>
                <c:pt idx="107">
                  <c:v>79</c:v>
                </c:pt>
                <c:pt idx="108">
                  <c:v>80</c:v>
                </c:pt>
                <c:pt idx="109">
                  <c:v>81</c:v>
                </c:pt>
                <c:pt idx="110">
                  <c:v>83</c:v>
                </c:pt>
                <c:pt idx="111">
                  <c:v>84</c:v>
                </c:pt>
                <c:pt idx="112">
                  <c:v>86</c:v>
                </c:pt>
                <c:pt idx="113">
                  <c:v>86</c:v>
                </c:pt>
                <c:pt idx="114">
                  <c:v>87</c:v>
                </c:pt>
                <c:pt idx="115">
                  <c:v>90</c:v>
                </c:pt>
                <c:pt idx="116">
                  <c:v>93</c:v>
                </c:pt>
                <c:pt idx="117">
                  <c:v>93</c:v>
                </c:pt>
                <c:pt idx="118">
                  <c:v>94</c:v>
                </c:pt>
                <c:pt idx="119">
                  <c:v>95</c:v>
                </c:pt>
                <c:pt idx="120">
                  <c:v>97</c:v>
                </c:pt>
                <c:pt idx="121">
                  <c:v>100</c:v>
                </c:pt>
                <c:pt idx="122">
                  <c:v>101</c:v>
                </c:pt>
                <c:pt idx="123">
                  <c:v>103</c:v>
                </c:pt>
                <c:pt idx="124">
                  <c:v>107</c:v>
                </c:pt>
                <c:pt idx="125">
                  <c:v>110</c:v>
                </c:pt>
                <c:pt idx="126">
                  <c:v>117</c:v>
                </c:pt>
                <c:pt idx="127">
                  <c:v>124</c:v>
                </c:pt>
                <c:pt idx="128">
                  <c:v>124</c:v>
                </c:pt>
                <c:pt idx="129">
                  <c:v>125</c:v>
                </c:pt>
                <c:pt idx="130">
                  <c:v>126</c:v>
                </c:pt>
                <c:pt idx="131">
                  <c:v>128</c:v>
                </c:pt>
                <c:pt idx="132">
                  <c:v>131</c:v>
                </c:pt>
                <c:pt idx="133">
                  <c:v>133</c:v>
                </c:pt>
                <c:pt idx="134">
                  <c:v>133</c:v>
                </c:pt>
                <c:pt idx="135">
                  <c:v>136</c:v>
                </c:pt>
                <c:pt idx="136">
                  <c:v>139</c:v>
                </c:pt>
                <c:pt idx="137">
                  <c:v>139</c:v>
                </c:pt>
                <c:pt idx="138">
                  <c:v>140</c:v>
                </c:pt>
                <c:pt idx="139">
                  <c:v>147</c:v>
                </c:pt>
                <c:pt idx="140">
                  <c:v>1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69-433F-AC8B-396B88F7C2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269-433F-AC8B-396B88F7C2E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269-433F-AC8B-396B88F7C2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1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3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3</c:v>
                </c:pt>
                <c:pt idx="28">
                  <c:v>3</c:v>
                </c:pt>
                <c:pt idx="29">
                  <c:v>3</c:v>
                </c:pt>
                <c:pt idx="30">
                  <c:v>3</c:v>
                </c:pt>
                <c:pt idx="31">
                  <c:v>3</c:v>
                </c:pt>
                <c:pt idx="32">
                  <c:v>3</c:v>
                </c:pt>
                <c:pt idx="33">
                  <c:v>3</c:v>
                </c:pt>
                <c:pt idx="34">
                  <c:v>3</c:v>
                </c:pt>
                <c:pt idx="35">
                  <c:v>3</c:v>
                </c:pt>
                <c:pt idx="36">
                  <c:v>3</c:v>
                </c:pt>
                <c:pt idx="37">
                  <c:v>3</c:v>
                </c:pt>
                <c:pt idx="38">
                  <c:v>3</c:v>
                </c:pt>
                <c:pt idx="39">
                  <c:v>3</c:v>
                </c:pt>
                <c:pt idx="40">
                  <c:v>3</c:v>
                </c:pt>
                <c:pt idx="41">
                  <c:v>4</c:v>
                </c:pt>
                <c:pt idx="42">
                  <c:v>4</c:v>
                </c:pt>
                <c:pt idx="43">
                  <c:v>4</c:v>
                </c:pt>
                <c:pt idx="44">
                  <c:v>4</c:v>
                </c:pt>
                <c:pt idx="45">
                  <c:v>4</c:v>
                </c:pt>
                <c:pt idx="46">
                  <c:v>4</c:v>
                </c:pt>
                <c:pt idx="47">
                  <c:v>4</c:v>
                </c:pt>
                <c:pt idx="48">
                  <c:v>4</c:v>
                </c:pt>
                <c:pt idx="49">
                  <c:v>4</c:v>
                </c:pt>
                <c:pt idx="50">
                  <c:v>4</c:v>
                </c:pt>
                <c:pt idx="51">
                  <c:v>4</c:v>
                </c:pt>
                <c:pt idx="52">
                  <c:v>4</c:v>
                </c:pt>
                <c:pt idx="53">
                  <c:v>4</c:v>
                </c:pt>
                <c:pt idx="54">
                  <c:v>4</c:v>
                </c:pt>
                <c:pt idx="55">
                  <c:v>4</c:v>
                </c:pt>
                <c:pt idx="56">
                  <c:v>4</c:v>
                </c:pt>
                <c:pt idx="57">
                  <c:v>4</c:v>
                </c:pt>
                <c:pt idx="58">
                  <c:v>4</c:v>
                </c:pt>
                <c:pt idx="59">
                  <c:v>4</c:v>
                </c:pt>
                <c:pt idx="60">
                  <c:v>4</c:v>
                </c:pt>
                <c:pt idx="61">
                  <c:v>4</c:v>
                </c:pt>
                <c:pt idx="62">
                  <c:v>4</c:v>
                </c:pt>
                <c:pt idx="63">
                  <c:v>5</c:v>
                </c:pt>
                <c:pt idx="64">
                  <c:v>5</c:v>
                </c:pt>
                <c:pt idx="65">
                  <c:v>5</c:v>
                </c:pt>
                <c:pt idx="66">
                  <c:v>5</c:v>
                </c:pt>
                <c:pt idx="67">
                  <c:v>5</c:v>
                </c:pt>
                <c:pt idx="68">
                  <c:v>5</c:v>
                </c:pt>
                <c:pt idx="69">
                  <c:v>5</c:v>
                </c:pt>
                <c:pt idx="70">
                  <c:v>5</c:v>
                </c:pt>
                <c:pt idx="71">
                  <c:v>5</c:v>
                </c:pt>
                <c:pt idx="72">
                  <c:v>5</c:v>
                </c:pt>
                <c:pt idx="73">
                  <c:v>5</c:v>
                </c:pt>
                <c:pt idx="74">
                  <c:v>5</c:v>
                </c:pt>
                <c:pt idx="75">
                  <c:v>5</c:v>
                </c:pt>
                <c:pt idx="76">
                  <c:v>5</c:v>
                </c:pt>
                <c:pt idx="77">
                  <c:v>5</c:v>
                </c:pt>
                <c:pt idx="78">
                  <c:v>5</c:v>
                </c:pt>
                <c:pt idx="79">
                  <c:v>5</c:v>
                </c:pt>
                <c:pt idx="80">
                  <c:v>7</c:v>
                </c:pt>
                <c:pt idx="81">
                  <c:v>7</c:v>
                </c:pt>
                <c:pt idx="82">
                  <c:v>7</c:v>
                </c:pt>
                <c:pt idx="83">
                  <c:v>7</c:v>
                </c:pt>
                <c:pt idx="84">
                  <c:v>7</c:v>
                </c:pt>
                <c:pt idx="85">
                  <c:v>7</c:v>
                </c:pt>
                <c:pt idx="86">
                  <c:v>7</c:v>
                </c:pt>
                <c:pt idx="87">
                  <c:v>7</c:v>
                </c:pt>
                <c:pt idx="88">
                  <c:v>7</c:v>
                </c:pt>
                <c:pt idx="89">
                  <c:v>7</c:v>
                </c:pt>
                <c:pt idx="90">
                  <c:v>7</c:v>
                </c:pt>
                <c:pt idx="91">
                  <c:v>7</c:v>
                </c:pt>
                <c:pt idx="92">
                  <c:v>7</c:v>
                </c:pt>
                <c:pt idx="93">
                  <c:v>8</c:v>
                </c:pt>
                <c:pt idx="94">
                  <c:v>9</c:v>
                </c:pt>
                <c:pt idx="95">
                  <c:v>10</c:v>
                </c:pt>
                <c:pt idx="96">
                  <c:v>10</c:v>
                </c:pt>
                <c:pt idx="97">
                  <c:v>10</c:v>
                </c:pt>
                <c:pt idx="98">
                  <c:v>10</c:v>
                </c:pt>
                <c:pt idx="99">
                  <c:v>10</c:v>
                </c:pt>
                <c:pt idx="100">
                  <c:v>10</c:v>
                </c:pt>
                <c:pt idx="101">
                  <c:v>11</c:v>
                </c:pt>
                <c:pt idx="102">
                  <c:v>11</c:v>
                </c:pt>
                <c:pt idx="103">
                  <c:v>11</c:v>
                </c:pt>
                <c:pt idx="104">
                  <c:v>12</c:v>
                </c:pt>
                <c:pt idx="105">
                  <c:v>14</c:v>
                </c:pt>
                <c:pt idx="106">
                  <c:v>14</c:v>
                </c:pt>
                <c:pt idx="107">
                  <c:v>14</c:v>
                </c:pt>
                <c:pt idx="108">
                  <c:v>14</c:v>
                </c:pt>
                <c:pt idx="109">
                  <c:v>14</c:v>
                </c:pt>
                <c:pt idx="110">
                  <c:v>14</c:v>
                </c:pt>
                <c:pt idx="111">
                  <c:v>14</c:v>
                </c:pt>
                <c:pt idx="112">
                  <c:v>15</c:v>
                </c:pt>
                <c:pt idx="113">
                  <c:v>15</c:v>
                </c:pt>
                <c:pt idx="114">
                  <c:v>15</c:v>
                </c:pt>
                <c:pt idx="115">
                  <c:v>15</c:v>
                </c:pt>
                <c:pt idx="116">
                  <c:v>15</c:v>
                </c:pt>
                <c:pt idx="117">
                  <c:v>15</c:v>
                </c:pt>
                <c:pt idx="118">
                  <c:v>15</c:v>
                </c:pt>
                <c:pt idx="119">
                  <c:v>15</c:v>
                </c:pt>
                <c:pt idx="120">
                  <c:v>15</c:v>
                </c:pt>
                <c:pt idx="121">
                  <c:v>16</c:v>
                </c:pt>
                <c:pt idx="122">
                  <c:v>17</c:v>
                </c:pt>
                <c:pt idx="123">
                  <c:v>18</c:v>
                </c:pt>
                <c:pt idx="124">
                  <c:v>19</c:v>
                </c:pt>
                <c:pt idx="125">
                  <c:v>19</c:v>
                </c:pt>
                <c:pt idx="126">
                  <c:v>24</c:v>
                </c:pt>
                <c:pt idx="127">
                  <c:v>24</c:v>
                </c:pt>
                <c:pt idx="128">
                  <c:v>24</c:v>
                </c:pt>
                <c:pt idx="129">
                  <c:v>24</c:v>
                </c:pt>
                <c:pt idx="130">
                  <c:v>25</c:v>
                </c:pt>
                <c:pt idx="131">
                  <c:v>25</c:v>
                </c:pt>
                <c:pt idx="132">
                  <c:v>29</c:v>
                </c:pt>
                <c:pt idx="133">
                  <c:v>29</c:v>
                </c:pt>
                <c:pt idx="134">
                  <c:v>29</c:v>
                </c:pt>
                <c:pt idx="135">
                  <c:v>31</c:v>
                </c:pt>
                <c:pt idx="136">
                  <c:v>31</c:v>
                </c:pt>
                <c:pt idx="137">
                  <c:v>32</c:v>
                </c:pt>
                <c:pt idx="138">
                  <c:v>32</c:v>
                </c:pt>
                <c:pt idx="139">
                  <c:v>32</c:v>
                </c:pt>
                <c:pt idx="140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1F-4172-8072-484BB1CAB2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91F-4172-8072-484BB1CAB290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91F-4172-8072-484BB1CAB2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5</c:v>
                </c:pt>
                <c:pt idx="12">
                  <c:v>5</c:v>
                </c:pt>
                <c:pt idx="13">
                  <c:v>5</c:v>
                </c:pt>
                <c:pt idx="14">
                  <c:v>6</c:v>
                </c:pt>
                <c:pt idx="15">
                  <c:v>6</c:v>
                </c:pt>
                <c:pt idx="16">
                  <c:v>7</c:v>
                </c:pt>
                <c:pt idx="17">
                  <c:v>7</c:v>
                </c:pt>
                <c:pt idx="18">
                  <c:v>7</c:v>
                </c:pt>
                <c:pt idx="19">
                  <c:v>7</c:v>
                </c:pt>
                <c:pt idx="20">
                  <c:v>7</c:v>
                </c:pt>
                <c:pt idx="21">
                  <c:v>7</c:v>
                </c:pt>
                <c:pt idx="22">
                  <c:v>7</c:v>
                </c:pt>
                <c:pt idx="23">
                  <c:v>7</c:v>
                </c:pt>
                <c:pt idx="24">
                  <c:v>7</c:v>
                </c:pt>
                <c:pt idx="25">
                  <c:v>7</c:v>
                </c:pt>
                <c:pt idx="26">
                  <c:v>7</c:v>
                </c:pt>
                <c:pt idx="27">
                  <c:v>7</c:v>
                </c:pt>
                <c:pt idx="28">
                  <c:v>7</c:v>
                </c:pt>
                <c:pt idx="29">
                  <c:v>7</c:v>
                </c:pt>
                <c:pt idx="30">
                  <c:v>7</c:v>
                </c:pt>
                <c:pt idx="31">
                  <c:v>7</c:v>
                </c:pt>
                <c:pt idx="32">
                  <c:v>7</c:v>
                </c:pt>
                <c:pt idx="33">
                  <c:v>7</c:v>
                </c:pt>
                <c:pt idx="34">
                  <c:v>7</c:v>
                </c:pt>
                <c:pt idx="35">
                  <c:v>7</c:v>
                </c:pt>
                <c:pt idx="36">
                  <c:v>7</c:v>
                </c:pt>
                <c:pt idx="37">
                  <c:v>7</c:v>
                </c:pt>
                <c:pt idx="38">
                  <c:v>7</c:v>
                </c:pt>
                <c:pt idx="39">
                  <c:v>8</c:v>
                </c:pt>
                <c:pt idx="40">
                  <c:v>8</c:v>
                </c:pt>
                <c:pt idx="41">
                  <c:v>8</c:v>
                </c:pt>
                <c:pt idx="42">
                  <c:v>8</c:v>
                </c:pt>
                <c:pt idx="43">
                  <c:v>8</c:v>
                </c:pt>
                <c:pt idx="44">
                  <c:v>8</c:v>
                </c:pt>
                <c:pt idx="45">
                  <c:v>8</c:v>
                </c:pt>
                <c:pt idx="46">
                  <c:v>8</c:v>
                </c:pt>
                <c:pt idx="47">
                  <c:v>8</c:v>
                </c:pt>
                <c:pt idx="48">
                  <c:v>8</c:v>
                </c:pt>
                <c:pt idx="49">
                  <c:v>8</c:v>
                </c:pt>
                <c:pt idx="50">
                  <c:v>8</c:v>
                </c:pt>
                <c:pt idx="51">
                  <c:v>8</c:v>
                </c:pt>
                <c:pt idx="52">
                  <c:v>8</c:v>
                </c:pt>
                <c:pt idx="53">
                  <c:v>8</c:v>
                </c:pt>
                <c:pt idx="54">
                  <c:v>9</c:v>
                </c:pt>
                <c:pt idx="55">
                  <c:v>9</c:v>
                </c:pt>
                <c:pt idx="56">
                  <c:v>9</c:v>
                </c:pt>
                <c:pt idx="57">
                  <c:v>9</c:v>
                </c:pt>
                <c:pt idx="58">
                  <c:v>9</c:v>
                </c:pt>
                <c:pt idx="59">
                  <c:v>9</c:v>
                </c:pt>
                <c:pt idx="60">
                  <c:v>9</c:v>
                </c:pt>
                <c:pt idx="61">
                  <c:v>9</c:v>
                </c:pt>
                <c:pt idx="62">
                  <c:v>9</c:v>
                </c:pt>
                <c:pt idx="63">
                  <c:v>9</c:v>
                </c:pt>
                <c:pt idx="64">
                  <c:v>9</c:v>
                </c:pt>
                <c:pt idx="65">
                  <c:v>9</c:v>
                </c:pt>
                <c:pt idx="66">
                  <c:v>9</c:v>
                </c:pt>
                <c:pt idx="67">
                  <c:v>9</c:v>
                </c:pt>
                <c:pt idx="68">
                  <c:v>9</c:v>
                </c:pt>
                <c:pt idx="69">
                  <c:v>9</c:v>
                </c:pt>
                <c:pt idx="70">
                  <c:v>9</c:v>
                </c:pt>
                <c:pt idx="71">
                  <c:v>10</c:v>
                </c:pt>
                <c:pt idx="72">
                  <c:v>10</c:v>
                </c:pt>
                <c:pt idx="73">
                  <c:v>10</c:v>
                </c:pt>
                <c:pt idx="74">
                  <c:v>10</c:v>
                </c:pt>
                <c:pt idx="75">
                  <c:v>11</c:v>
                </c:pt>
                <c:pt idx="76">
                  <c:v>11</c:v>
                </c:pt>
                <c:pt idx="77">
                  <c:v>11</c:v>
                </c:pt>
                <c:pt idx="78">
                  <c:v>11</c:v>
                </c:pt>
                <c:pt idx="79">
                  <c:v>12</c:v>
                </c:pt>
                <c:pt idx="80">
                  <c:v>12</c:v>
                </c:pt>
                <c:pt idx="81">
                  <c:v>12</c:v>
                </c:pt>
                <c:pt idx="82">
                  <c:v>12</c:v>
                </c:pt>
                <c:pt idx="83">
                  <c:v>12</c:v>
                </c:pt>
                <c:pt idx="84">
                  <c:v>12</c:v>
                </c:pt>
                <c:pt idx="85">
                  <c:v>12</c:v>
                </c:pt>
                <c:pt idx="86">
                  <c:v>12</c:v>
                </c:pt>
                <c:pt idx="87">
                  <c:v>12</c:v>
                </c:pt>
                <c:pt idx="88">
                  <c:v>12</c:v>
                </c:pt>
                <c:pt idx="89">
                  <c:v>12</c:v>
                </c:pt>
                <c:pt idx="90">
                  <c:v>12</c:v>
                </c:pt>
                <c:pt idx="91">
                  <c:v>12</c:v>
                </c:pt>
                <c:pt idx="92">
                  <c:v>12</c:v>
                </c:pt>
                <c:pt idx="93">
                  <c:v>12</c:v>
                </c:pt>
                <c:pt idx="94">
                  <c:v>12</c:v>
                </c:pt>
                <c:pt idx="95">
                  <c:v>12</c:v>
                </c:pt>
                <c:pt idx="96">
                  <c:v>12</c:v>
                </c:pt>
                <c:pt idx="97">
                  <c:v>12</c:v>
                </c:pt>
                <c:pt idx="98">
                  <c:v>12</c:v>
                </c:pt>
                <c:pt idx="99">
                  <c:v>12</c:v>
                </c:pt>
                <c:pt idx="100">
                  <c:v>12</c:v>
                </c:pt>
                <c:pt idx="101">
                  <c:v>12</c:v>
                </c:pt>
                <c:pt idx="102">
                  <c:v>12</c:v>
                </c:pt>
                <c:pt idx="103">
                  <c:v>12</c:v>
                </c:pt>
                <c:pt idx="104">
                  <c:v>12</c:v>
                </c:pt>
                <c:pt idx="105">
                  <c:v>12</c:v>
                </c:pt>
                <c:pt idx="106">
                  <c:v>12</c:v>
                </c:pt>
                <c:pt idx="107">
                  <c:v>13</c:v>
                </c:pt>
                <c:pt idx="108">
                  <c:v>13</c:v>
                </c:pt>
                <c:pt idx="109">
                  <c:v>14</c:v>
                </c:pt>
                <c:pt idx="110">
                  <c:v>14</c:v>
                </c:pt>
                <c:pt idx="111">
                  <c:v>14</c:v>
                </c:pt>
                <c:pt idx="112">
                  <c:v>14</c:v>
                </c:pt>
                <c:pt idx="113">
                  <c:v>14</c:v>
                </c:pt>
                <c:pt idx="114">
                  <c:v>15</c:v>
                </c:pt>
                <c:pt idx="115">
                  <c:v>15</c:v>
                </c:pt>
                <c:pt idx="116">
                  <c:v>15</c:v>
                </c:pt>
                <c:pt idx="117">
                  <c:v>16</c:v>
                </c:pt>
                <c:pt idx="118">
                  <c:v>17</c:v>
                </c:pt>
                <c:pt idx="119">
                  <c:v>19</c:v>
                </c:pt>
                <c:pt idx="120">
                  <c:v>19</c:v>
                </c:pt>
                <c:pt idx="121">
                  <c:v>19</c:v>
                </c:pt>
                <c:pt idx="122">
                  <c:v>19</c:v>
                </c:pt>
                <c:pt idx="123">
                  <c:v>20</c:v>
                </c:pt>
                <c:pt idx="124">
                  <c:v>20</c:v>
                </c:pt>
                <c:pt idx="125">
                  <c:v>21</c:v>
                </c:pt>
                <c:pt idx="126">
                  <c:v>22</c:v>
                </c:pt>
                <c:pt idx="127">
                  <c:v>23</c:v>
                </c:pt>
                <c:pt idx="128">
                  <c:v>24</c:v>
                </c:pt>
                <c:pt idx="129">
                  <c:v>24</c:v>
                </c:pt>
                <c:pt idx="130">
                  <c:v>24</c:v>
                </c:pt>
                <c:pt idx="131">
                  <c:v>25</c:v>
                </c:pt>
                <c:pt idx="132">
                  <c:v>28</c:v>
                </c:pt>
                <c:pt idx="133">
                  <c:v>29</c:v>
                </c:pt>
                <c:pt idx="134">
                  <c:v>29</c:v>
                </c:pt>
                <c:pt idx="135">
                  <c:v>30</c:v>
                </c:pt>
                <c:pt idx="136">
                  <c:v>31</c:v>
                </c:pt>
                <c:pt idx="137">
                  <c:v>33</c:v>
                </c:pt>
                <c:pt idx="138">
                  <c:v>34</c:v>
                </c:pt>
                <c:pt idx="139">
                  <c:v>35</c:v>
                </c:pt>
                <c:pt idx="140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0F-49E6-B8BC-76C572CC11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70F-49E6-B8BC-76C572CC1105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70F-49E6-B8BC-76C572CC11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1</c:v>
                </c:pt>
                <c:pt idx="1">
                  <c:v>10</c:v>
                </c:pt>
                <c:pt idx="2">
                  <c:v>15</c:v>
                </c:pt>
                <c:pt idx="3">
                  <c:v>10</c:v>
                </c:pt>
                <c:pt idx="4">
                  <c:v>9</c:v>
                </c:pt>
                <c:pt idx="5">
                  <c:v>11</c:v>
                </c:pt>
                <c:pt idx="6">
                  <c:v>11</c:v>
                </c:pt>
                <c:pt idx="7">
                  <c:v>11</c:v>
                </c:pt>
                <c:pt idx="8">
                  <c:v>12</c:v>
                </c:pt>
                <c:pt idx="9">
                  <c:v>11</c:v>
                </c:pt>
                <c:pt idx="10">
                  <c:v>9</c:v>
                </c:pt>
                <c:pt idx="11">
                  <c:v>6</c:v>
                </c:pt>
                <c:pt idx="12">
                  <c:v>6</c:v>
                </c:pt>
                <c:pt idx="13">
                  <c:v>6</c:v>
                </c:pt>
                <c:pt idx="14">
                  <c:v>6</c:v>
                </c:pt>
                <c:pt idx="15">
                  <c:v>6</c:v>
                </c:pt>
                <c:pt idx="16">
                  <c:v>5</c:v>
                </c:pt>
                <c:pt idx="17">
                  <c:v>5</c:v>
                </c:pt>
                <c:pt idx="18">
                  <c:v>4</c:v>
                </c:pt>
                <c:pt idx="19">
                  <c:v>4</c:v>
                </c:pt>
                <c:pt idx="20">
                  <c:v>3</c:v>
                </c:pt>
                <c:pt idx="21">
                  <c:v>2</c:v>
                </c:pt>
                <c:pt idx="22">
                  <c:v>1</c:v>
                </c:pt>
                <c:pt idx="23">
                  <c:v>1</c:v>
                </c:pt>
                <c:pt idx="24">
                  <c:v>6</c:v>
                </c:pt>
                <c:pt idx="25">
                  <c:v>4</c:v>
                </c:pt>
                <c:pt idx="26">
                  <c:v>4</c:v>
                </c:pt>
                <c:pt idx="27">
                  <c:v>5</c:v>
                </c:pt>
                <c:pt idx="28">
                  <c:v>6</c:v>
                </c:pt>
                <c:pt idx="29">
                  <c:v>4</c:v>
                </c:pt>
                <c:pt idx="30">
                  <c:v>5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5</c:v>
                </c:pt>
                <c:pt idx="35">
                  <c:v>5</c:v>
                </c:pt>
                <c:pt idx="36">
                  <c:v>6</c:v>
                </c:pt>
                <c:pt idx="37">
                  <c:v>6</c:v>
                </c:pt>
                <c:pt idx="38">
                  <c:v>4</c:v>
                </c:pt>
                <c:pt idx="39">
                  <c:v>4</c:v>
                </c:pt>
                <c:pt idx="40">
                  <c:v>4</c:v>
                </c:pt>
                <c:pt idx="41">
                  <c:v>4</c:v>
                </c:pt>
                <c:pt idx="42">
                  <c:v>3</c:v>
                </c:pt>
                <c:pt idx="43">
                  <c:v>3</c:v>
                </c:pt>
                <c:pt idx="44">
                  <c:v>4</c:v>
                </c:pt>
                <c:pt idx="45">
                  <c:v>5</c:v>
                </c:pt>
                <c:pt idx="46">
                  <c:v>5</c:v>
                </c:pt>
                <c:pt idx="47">
                  <c:v>6</c:v>
                </c:pt>
                <c:pt idx="48">
                  <c:v>6</c:v>
                </c:pt>
                <c:pt idx="49">
                  <c:v>2</c:v>
                </c:pt>
                <c:pt idx="50">
                  <c:v>2</c:v>
                </c:pt>
                <c:pt idx="51">
                  <c:v>7</c:v>
                </c:pt>
                <c:pt idx="52">
                  <c:v>6</c:v>
                </c:pt>
                <c:pt idx="53">
                  <c:v>4</c:v>
                </c:pt>
                <c:pt idx="54">
                  <c:v>4</c:v>
                </c:pt>
                <c:pt idx="55">
                  <c:v>4</c:v>
                </c:pt>
                <c:pt idx="56">
                  <c:v>5</c:v>
                </c:pt>
                <c:pt idx="57">
                  <c:v>6</c:v>
                </c:pt>
                <c:pt idx="58">
                  <c:v>6</c:v>
                </c:pt>
                <c:pt idx="59">
                  <c:v>7</c:v>
                </c:pt>
                <c:pt idx="60">
                  <c:v>6</c:v>
                </c:pt>
                <c:pt idx="61">
                  <c:v>6</c:v>
                </c:pt>
                <c:pt idx="62">
                  <c:v>5</c:v>
                </c:pt>
                <c:pt idx="63">
                  <c:v>5</c:v>
                </c:pt>
                <c:pt idx="64">
                  <c:v>5</c:v>
                </c:pt>
                <c:pt idx="65">
                  <c:v>5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3</c:v>
                </c:pt>
                <c:pt idx="71">
                  <c:v>2</c:v>
                </c:pt>
                <c:pt idx="72">
                  <c:v>2</c:v>
                </c:pt>
                <c:pt idx="73">
                  <c:v>3</c:v>
                </c:pt>
                <c:pt idx="74">
                  <c:v>3</c:v>
                </c:pt>
                <c:pt idx="75">
                  <c:v>2</c:v>
                </c:pt>
                <c:pt idx="76">
                  <c:v>3</c:v>
                </c:pt>
                <c:pt idx="77">
                  <c:v>4</c:v>
                </c:pt>
                <c:pt idx="78">
                  <c:v>5</c:v>
                </c:pt>
                <c:pt idx="79">
                  <c:v>6</c:v>
                </c:pt>
                <c:pt idx="80">
                  <c:v>6</c:v>
                </c:pt>
                <c:pt idx="81">
                  <c:v>5</c:v>
                </c:pt>
                <c:pt idx="82">
                  <c:v>6</c:v>
                </c:pt>
                <c:pt idx="83">
                  <c:v>6</c:v>
                </c:pt>
                <c:pt idx="84">
                  <c:v>7</c:v>
                </c:pt>
                <c:pt idx="85">
                  <c:v>8</c:v>
                </c:pt>
                <c:pt idx="86">
                  <c:v>7</c:v>
                </c:pt>
                <c:pt idx="87">
                  <c:v>6</c:v>
                </c:pt>
                <c:pt idx="88">
                  <c:v>6</c:v>
                </c:pt>
                <c:pt idx="89">
                  <c:v>5</c:v>
                </c:pt>
                <c:pt idx="90">
                  <c:v>4</c:v>
                </c:pt>
                <c:pt idx="91">
                  <c:v>4</c:v>
                </c:pt>
                <c:pt idx="92">
                  <c:v>4</c:v>
                </c:pt>
                <c:pt idx="93">
                  <c:v>4</c:v>
                </c:pt>
                <c:pt idx="94">
                  <c:v>6</c:v>
                </c:pt>
                <c:pt idx="95">
                  <c:v>7</c:v>
                </c:pt>
                <c:pt idx="96">
                  <c:v>8</c:v>
                </c:pt>
                <c:pt idx="97">
                  <c:v>10</c:v>
                </c:pt>
                <c:pt idx="98">
                  <c:v>11</c:v>
                </c:pt>
                <c:pt idx="99">
                  <c:v>11</c:v>
                </c:pt>
                <c:pt idx="100">
                  <c:v>6</c:v>
                </c:pt>
                <c:pt idx="101">
                  <c:v>8</c:v>
                </c:pt>
                <c:pt idx="102">
                  <c:v>7</c:v>
                </c:pt>
                <c:pt idx="103">
                  <c:v>8</c:v>
                </c:pt>
                <c:pt idx="104">
                  <c:v>11</c:v>
                </c:pt>
                <c:pt idx="105">
                  <c:v>13</c:v>
                </c:pt>
                <c:pt idx="106">
                  <c:v>11</c:v>
                </c:pt>
                <c:pt idx="107">
                  <c:v>12</c:v>
                </c:pt>
                <c:pt idx="108">
                  <c:v>13</c:v>
                </c:pt>
                <c:pt idx="109">
                  <c:v>12</c:v>
                </c:pt>
                <c:pt idx="110">
                  <c:v>11</c:v>
                </c:pt>
                <c:pt idx="111">
                  <c:v>10</c:v>
                </c:pt>
                <c:pt idx="112">
                  <c:v>13</c:v>
                </c:pt>
                <c:pt idx="113">
                  <c:v>12</c:v>
                </c:pt>
                <c:pt idx="114">
                  <c:v>11</c:v>
                </c:pt>
                <c:pt idx="115">
                  <c:v>12</c:v>
                </c:pt>
                <c:pt idx="116">
                  <c:v>14</c:v>
                </c:pt>
                <c:pt idx="117">
                  <c:v>14</c:v>
                </c:pt>
                <c:pt idx="118">
                  <c:v>15</c:v>
                </c:pt>
                <c:pt idx="119">
                  <c:v>16</c:v>
                </c:pt>
                <c:pt idx="120">
                  <c:v>15</c:v>
                </c:pt>
                <c:pt idx="121">
                  <c:v>19</c:v>
                </c:pt>
                <c:pt idx="122">
                  <c:v>19</c:v>
                </c:pt>
                <c:pt idx="123">
                  <c:v>18</c:v>
                </c:pt>
                <c:pt idx="124">
                  <c:v>24</c:v>
                </c:pt>
                <c:pt idx="125">
                  <c:v>26</c:v>
                </c:pt>
                <c:pt idx="126">
                  <c:v>31</c:v>
                </c:pt>
                <c:pt idx="127">
                  <c:v>34</c:v>
                </c:pt>
                <c:pt idx="128">
                  <c:v>32</c:v>
                </c:pt>
                <c:pt idx="129">
                  <c:v>30</c:v>
                </c:pt>
                <c:pt idx="130">
                  <c:v>29</c:v>
                </c:pt>
                <c:pt idx="131">
                  <c:v>30</c:v>
                </c:pt>
                <c:pt idx="132">
                  <c:v>31</c:v>
                </c:pt>
                <c:pt idx="133">
                  <c:v>31</c:v>
                </c:pt>
                <c:pt idx="134">
                  <c:v>30</c:v>
                </c:pt>
                <c:pt idx="135">
                  <c:v>29</c:v>
                </c:pt>
                <c:pt idx="136">
                  <c:v>28</c:v>
                </c:pt>
                <c:pt idx="137">
                  <c:v>25</c:v>
                </c:pt>
                <c:pt idx="138">
                  <c:v>22</c:v>
                </c:pt>
                <c:pt idx="139">
                  <c:v>25</c:v>
                </c:pt>
                <c:pt idx="140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18-4C15-88DE-1E210F967A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F18-4C15-88DE-1E210F967A2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F18-4C15-88DE-1E210F967A2B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F18-4C15-88DE-1E210F967A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2</c:v>
                </c:pt>
                <c:pt idx="43">
                  <c:v>3</c:v>
                </c:pt>
                <c:pt idx="44">
                  <c:v>3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4</c:v>
                </c:pt>
                <c:pt idx="51">
                  <c:v>4</c:v>
                </c:pt>
                <c:pt idx="52">
                  <c:v>4</c:v>
                </c:pt>
                <c:pt idx="53">
                  <c:v>4</c:v>
                </c:pt>
                <c:pt idx="54">
                  <c:v>4</c:v>
                </c:pt>
                <c:pt idx="55">
                  <c:v>4</c:v>
                </c:pt>
                <c:pt idx="56">
                  <c:v>5</c:v>
                </c:pt>
                <c:pt idx="57">
                  <c:v>5</c:v>
                </c:pt>
                <c:pt idx="58">
                  <c:v>5</c:v>
                </c:pt>
                <c:pt idx="59">
                  <c:v>6</c:v>
                </c:pt>
                <c:pt idx="60">
                  <c:v>8</c:v>
                </c:pt>
                <c:pt idx="61">
                  <c:v>8</c:v>
                </c:pt>
                <c:pt idx="62">
                  <c:v>8</c:v>
                </c:pt>
                <c:pt idx="63">
                  <c:v>8</c:v>
                </c:pt>
                <c:pt idx="64">
                  <c:v>8</c:v>
                </c:pt>
                <c:pt idx="65">
                  <c:v>8</c:v>
                </c:pt>
                <c:pt idx="66">
                  <c:v>8</c:v>
                </c:pt>
                <c:pt idx="67">
                  <c:v>8</c:v>
                </c:pt>
                <c:pt idx="68">
                  <c:v>9</c:v>
                </c:pt>
                <c:pt idx="69">
                  <c:v>9</c:v>
                </c:pt>
                <c:pt idx="70">
                  <c:v>9</c:v>
                </c:pt>
                <c:pt idx="71">
                  <c:v>9</c:v>
                </c:pt>
                <c:pt idx="72">
                  <c:v>9</c:v>
                </c:pt>
                <c:pt idx="73">
                  <c:v>9</c:v>
                </c:pt>
                <c:pt idx="74">
                  <c:v>10</c:v>
                </c:pt>
                <c:pt idx="75">
                  <c:v>10</c:v>
                </c:pt>
                <c:pt idx="76">
                  <c:v>10</c:v>
                </c:pt>
                <c:pt idx="77">
                  <c:v>10</c:v>
                </c:pt>
                <c:pt idx="78">
                  <c:v>11</c:v>
                </c:pt>
                <c:pt idx="79">
                  <c:v>12</c:v>
                </c:pt>
                <c:pt idx="80">
                  <c:v>12</c:v>
                </c:pt>
                <c:pt idx="81">
                  <c:v>12</c:v>
                </c:pt>
                <c:pt idx="82">
                  <c:v>12</c:v>
                </c:pt>
                <c:pt idx="83">
                  <c:v>12</c:v>
                </c:pt>
                <c:pt idx="84">
                  <c:v>12</c:v>
                </c:pt>
                <c:pt idx="85">
                  <c:v>12</c:v>
                </c:pt>
                <c:pt idx="86">
                  <c:v>12</c:v>
                </c:pt>
                <c:pt idx="87">
                  <c:v>12</c:v>
                </c:pt>
                <c:pt idx="88">
                  <c:v>12</c:v>
                </c:pt>
                <c:pt idx="89">
                  <c:v>12</c:v>
                </c:pt>
                <c:pt idx="90">
                  <c:v>12</c:v>
                </c:pt>
                <c:pt idx="91">
                  <c:v>12</c:v>
                </c:pt>
                <c:pt idx="92">
                  <c:v>12</c:v>
                </c:pt>
                <c:pt idx="93">
                  <c:v>12</c:v>
                </c:pt>
                <c:pt idx="94">
                  <c:v>12</c:v>
                </c:pt>
                <c:pt idx="95">
                  <c:v>12</c:v>
                </c:pt>
                <c:pt idx="96">
                  <c:v>12</c:v>
                </c:pt>
                <c:pt idx="97">
                  <c:v>12</c:v>
                </c:pt>
                <c:pt idx="98">
                  <c:v>12</c:v>
                </c:pt>
                <c:pt idx="99">
                  <c:v>12</c:v>
                </c:pt>
                <c:pt idx="100">
                  <c:v>12</c:v>
                </c:pt>
                <c:pt idx="101">
                  <c:v>12</c:v>
                </c:pt>
                <c:pt idx="102">
                  <c:v>12</c:v>
                </c:pt>
                <c:pt idx="103">
                  <c:v>12</c:v>
                </c:pt>
                <c:pt idx="104">
                  <c:v>12</c:v>
                </c:pt>
                <c:pt idx="105">
                  <c:v>12</c:v>
                </c:pt>
                <c:pt idx="106">
                  <c:v>12</c:v>
                </c:pt>
                <c:pt idx="107">
                  <c:v>12</c:v>
                </c:pt>
                <c:pt idx="108">
                  <c:v>13</c:v>
                </c:pt>
                <c:pt idx="109">
                  <c:v>13</c:v>
                </c:pt>
                <c:pt idx="110">
                  <c:v>13</c:v>
                </c:pt>
                <c:pt idx="111">
                  <c:v>13</c:v>
                </c:pt>
                <c:pt idx="112">
                  <c:v>13</c:v>
                </c:pt>
                <c:pt idx="113">
                  <c:v>13</c:v>
                </c:pt>
                <c:pt idx="114">
                  <c:v>13</c:v>
                </c:pt>
                <c:pt idx="115">
                  <c:v>13</c:v>
                </c:pt>
                <c:pt idx="116">
                  <c:v>14</c:v>
                </c:pt>
                <c:pt idx="117">
                  <c:v>14</c:v>
                </c:pt>
                <c:pt idx="118">
                  <c:v>14</c:v>
                </c:pt>
                <c:pt idx="119">
                  <c:v>14</c:v>
                </c:pt>
                <c:pt idx="120">
                  <c:v>14</c:v>
                </c:pt>
                <c:pt idx="121">
                  <c:v>14</c:v>
                </c:pt>
                <c:pt idx="122">
                  <c:v>14</c:v>
                </c:pt>
                <c:pt idx="123">
                  <c:v>14</c:v>
                </c:pt>
                <c:pt idx="124">
                  <c:v>14</c:v>
                </c:pt>
                <c:pt idx="125">
                  <c:v>14</c:v>
                </c:pt>
                <c:pt idx="126">
                  <c:v>14</c:v>
                </c:pt>
                <c:pt idx="127">
                  <c:v>14</c:v>
                </c:pt>
                <c:pt idx="128">
                  <c:v>14</c:v>
                </c:pt>
                <c:pt idx="129">
                  <c:v>14</c:v>
                </c:pt>
                <c:pt idx="130">
                  <c:v>14</c:v>
                </c:pt>
                <c:pt idx="131">
                  <c:v>14</c:v>
                </c:pt>
                <c:pt idx="132">
                  <c:v>15</c:v>
                </c:pt>
                <c:pt idx="133">
                  <c:v>16</c:v>
                </c:pt>
                <c:pt idx="134">
                  <c:v>16</c:v>
                </c:pt>
                <c:pt idx="135">
                  <c:v>16</c:v>
                </c:pt>
                <c:pt idx="136">
                  <c:v>16</c:v>
                </c:pt>
                <c:pt idx="137">
                  <c:v>18</c:v>
                </c:pt>
                <c:pt idx="138">
                  <c:v>18</c:v>
                </c:pt>
                <c:pt idx="139">
                  <c:v>19</c:v>
                </c:pt>
                <c:pt idx="140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70F-44FA-8EAA-CF7A48496A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70F-44FA-8EAA-CF7A48496ADD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70F-44FA-8EAA-CF7A48496A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GB$1</c:f>
              <c:numCache>
                <c:formatCode>m/d/yyyy</c:formatCode>
                <c:ptCount val="18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GB$6</c:f>
              <c:numCache>
                <c:formatCode>General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1</c:v>
                </c:pt>
                <c:pt idx="50">
                  <c:v>1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1</c:v>
                </c:pt>
                <c:pt idx="59">
                  <c:v>1</c:v>
                </c:pt>
                <c:pt idx="60">
                  <c:v>1</c:v>
                </c:pt>
                <c:pt idx="61">
                  <c:v>1</c:v>
                </c:pt>
                <c:pt idx="62">
                  <c:v>1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1</c:v>
                </c:pt>
                <c:pt idx="68">
                  <c:v>1</c:v>
                </c:pt>
                <c:pt idx="69">
                  <c:v>1</c:v>
                </c:pt>
                <c:pt idx="70">
                  <c:v>1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2</c:v>
                </c:pt>
                <c:pt idx="79">
                  <c:v>2</c:v>
                </c:pt>
                <c:pt idx="80">
                  <c:v>2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2</c:v>
                </c:pt>
                <c:pt idx="85">
                  <c:v>2</c:v>
                </c:pt>
                <c:pt idx="86">
                  <c:v>2</c:v>
                </c:pt>
                <c:pt idx="87">
                  <c:v>2</c:v>
                </c:pt>
                <c:pt idx="88">
                  <c:v>2</c:v>
                </c:pt>
                <c:pt idx="89">
                  <c:v>2</c:v>
                </c:pt>
                <c:pt idx="90">
                  <c:v>2</c:v>
                </c:pt>
                <c:pt idx="91">
                  <c:v>2</c:v>
                </c:pt>
                <c:pt idx="92">
                  <c:v>2</c:v>
                </c:pt>
                <c:pt idx="93">
                  <c:v>2</c:v>
                </c:pt>
                <c:pt idx="94">
                  <c:v>2</c:v>
                </c:pt>
                <c:pt idx="95">
                  <c:v>2</c:v>
                </c:pt>
                <c:pt idx="96">
                  <c:v>2</c:v>
                </c:pt>
                <c:pt idx="97">
                  <c:v>2</c:v>
                </c:pt>
                <c:pt idx="98">
                  <c:v>2</c:v>
                </c:pt>
                <c:pt idx="99">
                  <c:v>2</c:v>
                </c:pt>
                <c:pt idx="100">
                  <c:v>3</c:v>
                </c:pt>
                <c:pt idx="101">
                  <c:v>3</c:v>
                </c:pt>
                <c:pt idx="102">
                  <c:v>3</c:v>
                </c:pt>
                <c:pt idx="103">
                  <c:v>3</c:v>
                </c:pt>
                <c:pt idx="104">
                  <c:v>4</c:v>
                </c:pt>
                <c:pt idx="105">
                  <c:v>5</c:v>
                </c:pt>
                <c:pt idx="106">
                  <c:v>5</c:v>
                </c:pt>
                <c:pt idx="107">
                  <c:v>6</c:v>
                </c:pt>
                <c:pt idx="108">
                  <c:v>6</c:v>
                </c:pt>
                <c:pt idx="109">
                  <c:v>6</c:v>
                </c:pt>
                <c:pt idx="110">
                  <c:v>6</c:v>
                </c:pt>
                <c:pt idx="111">
                  <c:v>6</c:v>
                </c:pt>
                <c:pt idx="112">
                  <c:v>6</c:v>
                </c:pt>
                <c:pt idx="113">
                  <c:v>6</c:v>
                </c:pt>
                <c:pt idx="114">
                  <c:v>6</c:v>
                </c:pt>
                <c:pt idx="115">
                  <c:v>6</c:v>
                </c:pt>
                <c:pt idx="116">
                  <c:v>6</c:v>
                </c:pt>
                <c:pt idx="117">
                  <c:v>6</c:v>
                </c:pt>
                <c:pt idx="118">
                  <c:v>6</c:v>
                </c:pt>
                <c:pt idx="119">
                  <c:v>6</c:v>
                </c:pt>
                <c:pt idx="120">
                  <c:v>6</c:v>
                </c:pt>
                <c:pt idx="121">
                  <c:v>7</c:v>
                </c:pt>
                <c:pt idx="122">
                  <c:v>7</c:v>
                </c:pt>
                <c:pt idx="123">
                  <c:v>7</c:v>
                </c:pt>
                <c:pt idx="124">
                  <c:v>7</c:v>
                </c:pt>
                <c:pt idx="125">
                  <c:v>7</c:v>
                </c:pt>
                <c:pt idx="126">
                  <c:v>7</c:v>
                </c:pt>
                <c:pt idx="127">
                  <c:v>7</c:v>
                </c:pt>
                <c:pt idx="128">
                  <c:v>7</c:v>
                </c:pt>
                <c:pt idx="129">
                  <c:v>7</c:v>
                </c:pt>
                <c:pt idx="130">
                  <c:v>7</c:v>
                </c:pt>
                <c:pt idx="131">
                  <c:v>7</c:v>
                </c:pt>
                <c:pt idx="132">
                  <c:v>7</c:v>
                </c:pt>
                <c:pt idx="133">
                  <c:v>7</c:v>
                </c:pt>
                <c:pt idx="134">
                  <c:v>7</c:v>
                </c:pt>
                <c:pt idx="135">
                  <c:v>9</c:v>
                </c:pt>
                <c:pt idx="136">
                  <c:v>9</c:v>
                </c:pt>
                <c:pt idx="137">
                  <c:v>9</c:v>
                </c:pt>
                <c:pt idx="138">
                  <c:v>9</c:v>
                </c:pt>
                <c:pt idx="139">
                  <c:v>9</c:v>
                </c:pt>
                <c:pt idx="140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397-404B-814C-452B633D3D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GB$1</c:f>
              <c:numCache>
                <c:formatCode>m/d/yyyy</c:formatCode>
                <c:ptCount val="18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2:$GB$2</c:f>
              <c:numCache>
                <c:formatCode>General</c:formatCode>
                <c:ptCount val="18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397-404B-814C-452B633D3DD8}"/>
            </c:ext>
          </c:extLst>
        </c:ser>
        <c:ser>
          <c:idx val="2"/>
          <c:order val="1"/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GB$1</c:f>
              <c:numCache>
                <c:formatCode>m/d/yyyy</c:formatCode>
                <c:ptCount val="18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GB$3</c:f>
              <c:numCache>
                <c:formatCode>General</c:formatCode>
                <c:ptCount val="18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397-404B-814C-452B633D3DD8}"/>
            </c:ext>
          </c:extLst>
        </c:ser>
        <c:ser>
          <c:idx val="1"/>
          <c:order val="2"/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GB$1</c:f>
              <c:numCache>
                <c:formatCode>m/d/yyyy</c:formatCode>
                <c:ptCount val="18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4:$GB$4</c:f>
              <c:numCache>
                <c:formatCode>General</c:formatCode>
                <c:ptCount val="18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397-404B-814C-452B633D3DD8}"/>
            </c:ext>
          </c:extLst>
        </c:ser>
        <c:ser>
          <c:idx val="0"/>
          <c:order val="3"/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GB$1</c:f>
              <c:numCache>
                <c:formatCode>m/d/yyyy</c:formatCode>
                <c:ptCount val="18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GB$5</c:f>
              <c:numCache>
                <c:formatCode>General</c:formatCode>
                <c:ptCount val="18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397-404B-814C-452B633D3D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2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4</c:v>
                </c:pt>
                <c:pt idx="14">
                  <c:v>4</c:v>
                </c:pt>
                <c:pt idx="15">
                  <c:v>4</c:v>
                </c:pt>
                <c:pt idx="16">
                  <c:v>4</c:v>
                </c:pt>
                <c:pt idx="17">
                  <c:v>4</c:v>
                </c:pt>
                <c:pt idx="18">
                  <c:v>4</c:v>
                </c:pt>
                <c:pt idx="19">
                  <c:v>4</c:v>
                </c:pt>
                <c:pt idx="20">
                  <c:v>4</c:v>
                </c:pt>
                <c:pt idx="21">
                  <c:v>4</c:v>
                </c:pt>
                <c:pt idx="22">
                  <c:v>4</c:v>
                </c:pt>
                <c:pt idx="23">
                  <c:v>5</c:v>
                </c:pt>
                <c:pt idx="24">
                  <c:v>5</c:v>
                </c:pt>
                <c:pt idx="25">
                  <c:v>5</c:v>
                </c:pt>
                <c:pt idx="26">
                  <c:v>5</c:v>
                </c:pt>
                <c:pt idx="27">
                  <c:v>5</c:v>
                </c:pt>
                <c:pt idx="28">
                  <c:v>5</c:v>
                </c:pt>
                <c:pt idx="29">
                  <c:v>5</c:v>
                </c:pt>
                <c:pt idx="30">
                  <c:v>5</c:v>
                </c:pt>
                <c:pt idx="31">
                  <c:v>5</c:v>
                </c:pt>
                <c:pt idx="32">
                  <c:v>5</c:v>
                </c:pt>
                <c:pt idx="33">
                  <c:v>5</c:v>
                </c:pt>
                <c:pt idx="34">
                  <c:v>5</c:v>
                </c:pt>
                <c:pt idx="35">
                  <c:v>5</c:v>
                </c:pt>
                <c:pt idx="36">
                  <c:v>5</c:v>
                </c:pt>
                <c:pt idx="37">
                  <c:v>5</c:v>
                </c:pt>
                <c:pt idx="38">
                  <c:v>5</c:v>
                </c:pt>
                <c:pt idx="39">
                  <c:v>5</c:v>
                </c:pt>
                <c:pt idx="40">
                  <c:v>5</c:v>
                </c:pt>
                <c:pt idx="41">
                  <c:v>5</c:v>
                </c:pt>
                <c:pt idx="42">
                  <c:v>5</c:v>
                </c:pt>
                <c:pt idx="43">
                  <c:v>5</c:v>
                </c:pt>
                <c:pt idx="44">
                  <c:v>5</c:v>
                </c:pt>
                <c:pt idx="45">
                  <c:v>5</c:v>
                </c:pt>
                <c:pt idx="46">
                  <c:v>5</c:v>
                </c:pt>
                <c:pt idx="47">
                  <c:v>5</c:v>
                </c:pt>
                <c:pt idx="48">
                  <c:v>6</c:v>
                </c:pt>
                <c:pt idx="49">
                  <c:v>6</c:v>
                </c:pt>
                <c:pt idx="50">
                  <c:v>6</c:v>
                </c:pt>
                <c:pt idx="51">
                  <c:v>6</c:v>
                </c:pt>
                <c:pt idx="52">
                  <c:v>6</c:v>
                </c:pt>
                <c:pt idx="53">
                  <c:v>6</c:v>
                </c:pt>
                <c:pt idx="54">
                  <c:v>6</c:v>
                </c:pt>
                <c:pt idx="55">
                  <c:v>6</c:v>
                </c:pt>
                <c:pt idx="56">
                  <c:v>6</c:v>
                </c:pt>
                <c:pt idx="57">
                  <c:v>6</c:v>
                </c:pt>
                <c:pt idx="58">
                  <c:v>8</c:v>
                </c:pt>
                <c:pt idx="59">
                  <c:v>8</c:v>
                </c:pt>
                <c:pt idx="60">
                  <c:v>8</c:v>
                </c:pt>
                <c:pt idx="61">
                  <c:v>8</c:v>
                </c:pt>
                <c:pt idx="62">
                  <c:v>8</c:v>
                </c:pt>
                <c:pt idx="63">
                  <c:v>8</c:v>
                </c:pt>
                <c:pt idx="64">
                  <c:v>8</c:v>
                </c:pt>
                <c:pt idx="65">
                  <c:v>8</c:v>
                </c:pt>
                <c:pt idx="66">
                  <c:v>8</c:v>
                </c:pt>
                <c:pt idx="67">
                  <c:v>8</c:v>
                </c:pt>
                <c:pt idx="68">
                  <c:v>8</c:v>
                </c:pt>
                <c:pt idx="69">
                  <c:v>9</c:v>
                </c:pt>
                <c:pt idx="70">
                  <c:v>10</c:v>
                </c:pt>
                <c:pt idx="71">
                  <c:v>10</c:v>
                </c:pt>
                <c:pt idx="72">
                  <c:v>11</c:v>
                </c:pt>
                <c:pt idx="73">
                  <c:v>11</c:v>
                </c:pt>
                <c:pt idx="74">
                  <c:v>11</c:v>
                </c:pt>
                <c:pt idx="75">
                  <c:v>11</c:v>
                </c:pt>
                <c:pt idx="76">
                  <c:v>12</c:v>
                </c:pt>
                <c:pt idx="77">
                  <c:v>13</c:v>
                </c:pt>
                <c:pt idx="78">
                  <c:v>13</c:v>
                </c:pt>
                <c:pt idx="79">
                  <c:v>13</c:v>
                </c:pt>
                <c:pt idx="80">
                  <c:v>13</c:v>
                </c:pt>
                <c:pt idx="81">
                  <c:v>13</c:v>
                </c:pt>
                <c:pt idx="82">
                  <c:v>13</c:v>
                </c:pt>
                <c:pt idx="83">
                  <c:v>13</c:v>
                </c:pt>
                <c:pt idx="84">
                  <c:v>13</c:v>
                </c:pt>
                <c:pt idx="85">
                  <c:v>14</c:v>
                </c:pt>
                <c:pt idx="86">
                  <c:v>14</c:v>
                </c:pt>
                <c:pt idx="87">
                  <c:v>14</c:v>
                </c:pt>
                <c:pt idx="88">
                  <c:v>14</c:v>
                </c:pt>
                <c:pt idx="89">
                  <c:v>14</c:v>
                </c:pt>
                <c:pt idx="90">
                  <c:v>14</c:v>
                </c:pt>
                <c:pt idx="91">
                  <c:v>15</c:v>
                </c:pt>
                <c:pt idx="92">
                  <c:v>15</c:v>
                </c:pt>
                <c:pt idx="93">
                  <c:v>15</c:v>
                </c:pt>
                <c:pt idx="94">
                  <c:v>15</c:v>
                </c:pt>
                <c:pt idx="95">
                  <c:v>15</c:v>
                </c:pt>
                <c:pt idx="96">
                  <c:v>15</c:v>
                </c:pt>
                <c:pt idx="97">
                  <c:v>17</c:v>
                </c:pt>
                <c:pt idx="98">
                  <c:v>18</c:v>
                </c:pt>
                <c:pt idx="99">
                  <c:v>18</c:v>
                </c:pt>
                <c:pt idx="100">
                  <c:v>18</c:v>
                </c:pt>
                <c:pt idx="101">
                  <c:v>18</c:v>
                </c:pt>
                <c:pt idx="102">
                  <c:v>18</c:v>
                </c:pt>
                <c:pt idx="103">
                  <c:v>18</c:v>
                </c:pt>
                <c:pt idx="104">
                  <c:v>20</c:v>
                </c:pt>
                <c:pt idx="105">
                  <c:v>21</c:v>
                </c:pt>
                <c:pt idx="106">
                  <c:v>21</c:v>
                </c:pt>
                <c:pt idx="107">
                  <c:v>21</c:v>
                </c:pt>
                <c:pt idx="108">
                  <c:v>21</c:v>
                </c:pt>
                <c:pt idx="109">
                  <c:v>21</c:v>
                </c:pt>
                <c:pt idx="110">
                  <c:v>21</c:v>
                </c:pt>
                <c:pt idx="111">
                  <c:v>24</c:v>
                </c:pt>
                <c:pt idx="112">
                  <c:v>24</c:v>
                </c:pt>
                <c:pt idx="113">
                  <c:v>24</c:v>
                </c:pt>
                <c:pt idx="114">
                  <c:v>24</c:v>
                </c:pt>
                <c:pt idx="115">
                  <c:v>24</c:v>
                </c:pt>
                <c:pt idx="116">
                  <c:v>24</c:v>
                </c:pt>
                <c:pt idx="117">
                  <c:v>24</c:v>
                </c:pt>
                <c:pt idx="118">
                  <c:v>24</c:v>
                </c:pt>
                <c:pt idx="119">
                  <c:v>24</c:v>
                </c:pt>
                <c:pt idx="120">
                  <c:v>24</c:v>
                </c:pt>
                <c:pt idx="121">
                  <c:v>24</c:v>
                </c:pt>
                <c:pt idx="122">
                  <c:v>24</c:v>
                </c:pt>
                <c:pt idx="123">
                  <c:v>24</c:v>
                </c:pt>
                <c:pt idx="124">
                  <c:v>24</c:v>
                </c:pt>
                <c:pt idx="125">
                  <c:v>26</c:v>
                </c:pt>
                <c:pt idx="126">
                  <c:v>26</c:v>
                </c:pt>
                <c:pt idx="127">
                  <c:v>28</c:v>
                </c:pt>
                <c:pt idx="128">
                  <c:v>28</c:v>
                </c:pt>
                <c:pt idx="129">
                  <c:v>28</c:v>
                </c:pt>
                <c:pt idx="130">
                  <c:v>28</c:v>
                </c:pt>
                <c:pt idx="131">
                  <c:v>28</c:v>
                </c:pt>
                <c:pt idx="132">
                  <c:v>32</c:v>
                </c:pt>
                <c:pt idx="133">
                  <c:v>32</c:v>
                </c:pt>
                <c:pt idx="134">
                  <c:v>33</c:v>
                </c:pt>
                <c:pt idx="135">
                  <c:v>37</c:v>
                </c:pt>
                <c:pt idx="136">
                  <c:v>38</c:v>
                </c:pt>
                <c:pt idx="137">
                  <c:v>38</c:v>
                </c:pt>
                <c:pt idx="138">
                  <c:v>38</c:v>
                </c:pt>
                <c:pt idx="139">
                  <c:v>38</c:v>
                </c:pt>
                <c:pt idx="140">
                  <c:v>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15-47B2-8064-2B03AA43EC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A15-47B2-8064-2B03AA43ECF7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A15-47B2-8064-2B03AA43EC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1</c:v>
                </c:pt>
                <c:pt idx="78">
                  <c:v>1</c:v>
                </c:pt>
                <c:pt idx="79">
                  <c:v>1</c:v>
                </c:pt>
                <c:pt idx="80">
                  <c:v>1</c:v>
                </c:pt>
                <c:pt idx="81">
                  <c:v>1</c:v>
                </c:pt>
                <c:pt idx="82">
                  <c:v>1</c:v>
                </c:pt>
                <c:pt idx="83">
                  <c:v>1</c:v>
                </c:pt>
                <c:pt idx="84">
                  <c:v>1</c:v>
                </c:pt>
                <c:pt idx="85">
                  <c:v>1</c:v>
                </c:pt>
                <c:pt idx="86">
                  <c:v>1</c:v>
                </c:pt>
                <c:pt idx="87">
                  <c:v>2</c:v>
                </c:pt>
                <c:pt idx="88">
                  <c:v>2</c:v>
                </c:pt>
                <c:pt idx="89">
                  <c:v>2</c:v>
                </c:pt>
                <c:pt idx="90">
                  <c:v>2</c:v>
                </c:pt>
                <c:pt idx="91">
                  <c:v>2</c:v>
                </c:pt>
                <c:pt idx="92">
                  <c:v>2</c:v>
                </c:pt>
                <c:pt idx="93">
                  <c:v>2</c:v>
                </c:pt>
                <c:pt idx="94">
                  <c:v>2</c:v>
                </c:pt>
                <c:pt idx="95">
                  <c:v>2</c:v>
                </c:pt>
                <c:pt idx="96">
                  <c:v>2</c:v>
                </c:pt>
                <c:pt idx="97">
                  <c:v>2</c:v>
                </c:pt>
                <c:pt idx="98">
                  <c:v>3</c:v>
                </c:pt>
                <c:pt idx="99">
                  <c:v>3</c:v>
                </c:pt>
                <c:pt idx="100">
                  <c:v>3</c:v>
                </c:pt>
                <c:pt idx="101">
                  <c:v>4</c:v>
                </c:pt>
                <c:pt idx="102">
                  <c:v>4</c:v>
                </c:pt>
                <c:pt idx="103">
                  <c:v>5</c:v>
                </c:pt>
                <c:pt idx="104">
                  <c:v>5</c:v>
                </c:pt>
                <c:pt idx="105">
                  <c:v>6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8</c:v>
                </c:pt>
                <c:pt idx="110">
                  <c:v>8</c:v>
                </c:pt>
                <c:pt idx="111">
                  <c:v>8</c:v>
                </c:pt>
                <c:pt idx="112">
                  <c:v>8</c:v>
                </c:pt>
                <c:pt idx="113">
                  <c:v>8</c:v>
                </c:pt>
                <c:pt idx="114">
                  <c:v>8</c:v>
                </c:pt>
                <c:pt idx="115">
                  <c:v>8</c:v>
                </c:pt>
                <c:pt idx="116">
                  <c:v>8</c:v>
                </c:pt>
                <c:pt idx="117">
                  <c:v>8</c:v>
                </c:pt>
                <c:pt idx="118">
                  <c:v>8</c:v>
                </c:pt>
                <c:pt idx="119">
                  <c:v>8</c:v>
                </c:pt>
                <c:pt idx="120">
                  <c:v>8</c:v>
                </c:pt>
                <c:pt idx="121">
                  <c:v>8</c:v>
                </c:pt>
                <c:pt idx="122">
                  <c:v>8</c:v>
                </c:pt>
                <c:pt idx="123">
                  <c:v>8</c:v>
                </c:pt>
                <c:pt idx="124">
                  <c:v>8</c:v>
                </c:pt>
                <c:pt idx="125">
                  <c:v>8</c:v>
                </c:pt>
                <c:pt idx="126">
                  <c:v>8</c:v>
                </c:pt>
                <c:pt idx="127">
                  <c:v>10</c:v>
                </c:pt>
                <c:pt idx="128">
                  <c:v>10</c:v>
                </c:pt>
                <c:pt idx="129">
                  <c:v>10</c:v>
                </c:pt>
                <c:pt idx="130">
                  <c:v>10</c:v>
                </c:pt>
                <c:pt idx="131">
                  <c:v>10</c:v>
                </c:pt>
                <c:pt idx="132">
                  <c:v>10</c:v>
                </c:pt>
                <c:pt idx="133">
                  <c:v>10</c:v>
                </c:pt>
                <c:pt idx="134">
                  <c:v>10</c:v>
                </c:pt>
                <c:pt idx="135">
                  <c:v>10</c:v>
                </c:pt>
                <c:pt idx="136">
                  <c:v>11</c:v>
                </c:pt>
                <c:pt idx="137">
                  <c:v>11</c:v>
                </c:pt>
                <c:pt idx="138">
                  <c:v>12</c:v>
                </c:pt>
                <c:pt idx="139">
                  <c:v>12</c:v>
                </c:pt>
                <c:pt idx="140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A7-464E-9E50-188664B8C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9A7-464E-9E50-188664B8CF1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9A7-464E-9E50-188664B8C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3</c:v>
                </c:pt>
                <c:pt idx="43">
                  <c:v>4</c:v>
                </c:pt>
                <c:pt idx="44">
                  <c:v>4</c:v>
                </c:pt>
                <c:pt idx="45">
                  <c:v>4</c:v>
                </c:pt>
                <c:pt idx="46">
                  <c:v>4</c:v>
                </c:pt>
                <c:pt idx="47">
                  <c:v>4</c:v>
                </c:pt>
                <c:pt idx="48">
                  <c:v>4</c:v>
                </c:pt>
                <c:pt idx="49">
                  <c:v>4</c:v>
                </c:pt>
                <c:pt idx="50">
                  <c:v>4</c:v>
                </c:pt>
                <c:pt idx="51">
                  <c:v>4</c:v>
                </c:pt>
                <c:pt idx="52">
                  <c:v>4</c:v>
                </c:pt>
                <c:pt idx="53">
                  <c:v>4</c:v>
                </c:pt>
                <c:pt idx="54">
                  <c:v>4</c:v>
                </c:pt>
                <c:pt idx="55">
                  <c:v>5</c:v>
                </c:pt>
                <c:pt idx="56">
                  <c:v>5</c:v>
                </c:pt>
                <c:pt idx="57">
                  <c:v>5</c:v>
                </c:pt>
                <c:pt idx="58">
                  <c:v>6</c:v>
                </c:pt>
                <c:pt idx="59">
                  <c:v>6</c:v>
                </c:pt>
                <c:pt idx="60">
                  <c:v>6</c:v>
                </c:pt>
                <c:pt idx="61">
                  <c:v>6</c:v>
                </c:pt>
                <c:pt idx="62">
                  <c:v>6</c:v>
                </c:pt>
                <c:pt idx="63">
                  <c:v>6</c:v>
                </c:pt>
                <c:pt idx="64">
                  <c:v>6</c:v>
                </c:pt>
                <c:pt idx="65">
                  <c:v>6</c:v>
                </c:pt>
                <c:pt idx="66">
                  <c:v>7</c:v>
                </c:pt>
                <c:pt idx="67">
                  <c:v>7</c:v>
                </c:pt>
                <c:pt idx="68">
                  <c:v>7</c:v>
                </c:pt>
                <c:pt idx="69">
                  <c:v>7</c:v>
                </c:pt>
                <c:pt idx="70">
                  <c:v>7</c:v>
                </c:pt>
                <c:pt idx="71">
                  <c:v>7</c:v>
                </c:pt>
                <c:pt idx="72">
                  <c:v>7</c:v>
                </c:pt>
                <c:pt idx="73">
                  <c:v>7</c:v>
                </c:pt>
                <c:pt idx="74">
                  <c:v>7</c:v>
                </c:pt>
                <c:pt idx="75">
                  <c:v>7</c:v>
                </c:pt>
                <c:pt idx="76">
                  <c:v>7</c:v>
                </c:pt>
                <c:pt idx="77">
                  <c:v>7</c:v>
                </c:pt>
                <c:pt idx="78">
                  <c:v>7</c:v>
                </c:pt>
                <c:pt idx="79">
                  <c:v>7</c:v>
                </c:pt>
                <c:pt idx="80">
                  <c:v>7</c:v>
                </c:pt>
                <c:pt idx="81">
                  <c:v>7</c:v>
                </c:pt>
                <c:pt idx="82">
                  <c:v>7</c:v>
                </c:pt>
                <c:pt idx="83">
                  <c:v>7</c:v>
                </c:pt>
                <c:pt idx="84">
                  <c:v>7</c:v>
                </c:pt>
                <c:pt idx="85">
                  <c:v>7</c:v>
                </c:pt>
                <c:pt idx="86">
                  <c:v>7</c:v>
                </c:pt>
                <c:pt idx="87">
                  <c:v>7</c:v>
                </c:pt>
                <c:pt idx="88">
                  <c:v>7</c:v>
                </c:pt>
                <c:pt idx="89">
                  <c:v>7</c:v>
                </c:pt>
                <c:pt idx="90">
                  <c:v>7</c:v>
                </c:pt>
                <c:pt idx="91">
                  <c:v>7</c:v>
                </c:pt>
                <c:pt idx="92">
                  <c:v>7</c:v>
                </c:pt>
                <c:pt idx="93">
                  <c:v>7</c:v>
                </c:pt>
                <c:pt idx="94">
                  <c:v>7</c:v>
                </c:pt>
                <c:pt idx="95">
                  <c:v>7</c:v>
                </c:pt>
                <c:pt idx="96">
                  <c:v>7</c:v>
                </c:pt>
                <c:pt idx="97">
                  <c:v>7</c:v>
                </c:pt>
                <c:pt idx="98">
                  <c:v>7</c:v>
                </c:pt>
                <c:pt idx="99">
                  <c:v>8</c:v>
                </c:pt>
                <c:pt idx="100">
                  <c:v>8</c:v>
                </c:pt>
                <c:pt idx="101">
                  <c:v>8</c:v>
                </c:pt>
                <c:pt idx="102">
                  <c:v>8</c:v>
                </c:pt>
                <c:pt idx="103">
                  <c:v>8</c:v>
                </c:pt>
                <c:pt idx="104">
                  <c:v>8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8</c:v>
                </c:pt>
                <c:pt idx="110">
                  <c:v>9</c:v>
                </c:pt>
                <c:pt idx="111">
                  <c:v>9</c:v>
                </c:pt>
                <c:pt idx="112">
                  <c:v>9</c:v>
                </c:pt>
                <c:pt idx="113">
                  <c:v>9</c:v>
                </c:pt>
                <c:pt idx="114">
                  <c:v>9</c:v>
                </c:pt>
                <c:pt idx="115">
                  <c:v>9</c:v>
                </c:pt>
                <c:pt idx="116">
                  <c:v>9</c:v>
                </c:pt>
                <c:pt idx="117">
                  <c:v>9</c:v>
                </c:pt>
                <c:pt idx="118">
                  <c:v>9</c:v>
                </c:pt>
                <c:pt idx="119">
                  <c:v>10</c:v>
                </c:pt>
                <c:pt idx="120">
                  <c:v>10</c:v>
                </c:pt>
                <c:pt idx="121">
                  <c:v>10</c:v>
                </c:pt>
                <c:pt idx="122">
                  <c:v>10</c:v>
                </c:pt>
                <c:pt idx="123">
                  <c:v>10</c:v>
                </c:pt>
                <c:pt idx="124">
                  <c:v>10</c:v>
                </c:pt>
                <c:pt idx="125">
                  <c:v>10</c:v>
                </c:pt>
                <c:pt idx="126">
                  <c:v>10</c:v>
                </c:pt>
                <c:pt idx="127">
                  <c:v>11</c:v>
                </c:pt>
                <c:pt idx="128">
                  <c:v>11</c:v>
                </c:pt>
                <c:pt idx="129">
                  <c:v>13</c:v>
                </c:pt>
                <c:pt idx="130">
                  <c:v>13</c:v>
                </c:pt>
                <c:pt idx="131">
                  <c:v>13</c:v>
                </c:pt>
                <c:pt idx="132">
                  <c:v>13</c:v>
                </c:pt>
                <c:pt idx="133">
                  <c:v>13</c:v>
                </c:pt>
                <c:pt idx="134">
                  <c:v>14</c:v>
                </c:pt>
                <c:pt idx="135">
                  <c:v>14</c:v>
                </c:pt>
                <c:pt idx="136">
                  <c:v>14</c:v>
                </c:pt>
                <c:pt idx="137">
                  <c:v>14</c:v>
                </c:pt>
                <c:pt idx="138">
                  <c:v>14</c:v>
                </c:pt>
                <c:pt idx="139">
                  <c:v>14</c:v>
                </c:pt>
                <c:pt idx="140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E05-4A4D-8E6C-DB2C0120E7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E05-4A4D-8E6C-DB2C0120E7EF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E05-4A4D-8E6C-DB2C0120E7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2</c:v>
                </c:pt>
                <c:pt idx="42">
                  <c:v>2</c:v>
                </c:pt>
                <c:pt idx="43">
                  <c:v>2</c:v>
                </c:pt>
                <c:pt idx="44">
                  <c:v>2</c:v>
                </c:pt>
                <c:pt idx="45">
                  <c:v>2</c:v>
                </c:pt>
                <c:pt idx="46">
                  <c:v>2</c:v>
                </c:pt>
                <c:pt idx="47">
                  <c:v>2</c:v>
                </c:pt>
                <c:pt idx="48">
                  <c:v>2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2</c:v>
                </c:pt>
                <c:pt idx="53">
                  <c:v>2</c:v>
                </c:pt>
                <c:pt idx="54">
                  <c:v>2</c:v>
                </c:pt>
                <c:pt idx="55">
                  <c:v>2</c:v>
                </c:pt>
                <c:pt idx="56">
                  <c:v>2</c:v>
                </c:pt>
                <c:pt idx="57">
                  <c:v>2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2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3</c:v>
                </c:pt>
                <c:pt idx="73">
                  <c:v>3</c:v>
                </c:pt>
                <c:pt idx="74">
                  <c:v>3</c:v>
                </c:pt>
                <c:pt idx="75">
                  <c:v>3</c:v>
                </c:pt>
                <c:pt idx="76">
                  <c:v>4</c:v>
                </c:pt>
                <c:pt idx="77">
                  <c:v>4</c:v>
                </c:pt>
                <c:pt idx="78">
                  <c:v>4</c:v>
                </c:pt>
                <c:pt idx="79">
                  <c:v>4</c:v>
                </c:pt>
                <c:pt idx="80">
                  <c:v>5</c:v>
                </c:pt>
                <c:pt idx="81">
                  <c:v>5</c:v>
                </c:pt>
                <c:pt idx="82">
                  <c:v>5</c:v>
                </c:pt>
                <c:pt idx="83">
                  <c:v>5</c:v>
                </c:pt>
                <c:pt idx="84">
                  <c:v>5</c:v>
                </c:pt>
                <c:pt idx="85">
                  <c:v>5</c:v>
                </c:pt>
                <c:pt idx="86">
                  <c:v>5</c:v>
                </c:pt>
                <c:pt idx="87">
                  <c:v>5</c:v>
                </c:pt>
                <c:pt idx="88">
                  <c:v>5</c:v>
                </c:pt>
                <c:pt idx="89">
                  <c:v>5</c:v>
                </c:pt>
                <c:pt idx="90">
                  <c:v>5</c:v>
                </c:pt>
                <c:pt idx="91">
                  <c:v>5</c:v>
                </c:pt>
                <c:pt idx="92">
                  <c:v>5</c:v>
                </c:pt>
                <c:pt idx="93">
                  <c:v>5</c:v>
                </c:pt>
                <c:pt idx="94">
                  <c:v>5</c:v>
                </c:pt>
                <c:pt idx="95">
                  <c:v>5</c:v>
                </c:pt>
                <c:pt idx="96">
                  <c:v>5</c:v>
                </c:pt>
                <c:pt idx="97">
                  <c:v>5</c:v>
                </c:pt>
                <c:pt idx="98">
                  <c:v>5</c:v>
                </c:pt>
                <c:pt idx="99">
                  <c:v>5</c:v>
                </c:pt>
                <c:pt idx="100">
                  <c:v>5</c:v>
                </c:pt>
                <c:pt idx="101">
                  <c:v>5</c:v>
                </c:pt>
                <c:pt idx="102">
                  <c:v>5</c:v>
                </c:pt>
                <c:pt idx="103">
                  <c:v>5</c:v>
                </c:pt>
                <c:pt idx="104">
                  <c:v>5</c:v>
                </c:pt>
                <c:pt idx="105">
                  <c:v>5</c:v>
                </c:pt>
                <c:pt idx="106">
                  <c:v>5</c:v>
                </c:pt>
                <c:pt idx="107">
                  <c:v>5</c:v>
                </c:pt>
                <c:pt idx="108">
                  <c:v>5</c:v>
                </c:pt>
                <c:pt idx="109">
                  <c:v>5</c:v>
                </c:pt>
                <c:pt idx="110">
                  <c:v>5</c:v>
                </c:pt>
                <c:pt idx="111">
                  <c:v>5</c:v>
                </c:pt>
                <c:pt idx="112">
                  <c:v>5</c:v>
                </c:pt>
                <c:pt idx="113">
                  <c:v>6</c:v>
                </c:pt>
                <c:pt idx="114">
                  <c:v>6</c:v>
                </c:pt>
                <c:pt idx="115">
                  <c:v>7</c:v>
                </c:pt>
                <c:pt idx="116">
                  <c:v>7</c:v>
                </c:pt>
                <c:pt idx="117">
                  <c:v>7</c:v>
                </c:pt>
                <c:pt idx="118">
                  <c:v>7</c:v>
                </c:pt>
                <c:pt idx="119">
                  <c:v>7</c:v>
                </c:pt>
                <c:pt idx="120">
                  <c:v>7</c:v>
                </c:pt>
                <c:pt idx="121">
                  <c:v>7</c:v>
                </c:pt>
                <c:pt idx="122">
                  <c:v>7</c:v>
                </c:pt>
                <c:pt idx="123">
                  <c:v>7</c:v>
                </c:pt>
                <c:pt idx="124">
                  <c:v>7</c:v>
                </c:pt>
                <c:pt idx="125">
                  <c:v>7</c:v>
                </c:pt>
                <c:pt idx="126">
                  <c:v>7</c:v>
                </c:pt>
                <c:pt idx="127">
                  <c:v>7</c:v>
                </c:pt>
                <c:pt idx="128">
                  <c:v>7</c:v>
                </c:pt>
                <c:pt idx="129">
                  <c:v>7</c:v>
                </c:pt>
                <c:pt idx="130">
                  <c:v>7</c:v>
                </c:pt>
                <c:pt idx="131">
                  <c:v>7</c:v>
                </c:pt>
                <c:pt idx="132">
                  <c:v>7</c:v>
                </c:pt>
                <c:pt idx="133">
                  <c:v>8</c:v>
                </c:pt>
                <c:pt idx="134">
                  <c:v>8</c:v>
                </c:pt>
                <c:pt idx="135">
                  <c:v>9</c:v>
                </c:pt>
                <c:pt idx="136">
                  <c:v>10</c:v>
                </c:pt>
                <c:pt idx="137">
                  <c:v>10</c:v>
                </c:pt>
                <c:pt idx="138">
                  <c:v>10</c:v>
                </c:pt>
                <c:pt idx="139">
                  <c:v>10</c:v>
                </c:pt>
                <c:pt idx="140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A32-4C6F-BC4A-CA01BB6597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A32-4C6F-BC4A-CA01BB65977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A32-4C6F-BC4A-CA01BB6597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3</c:v>
                </c:pt>
                <c:pt idx="33">
                  <c:v>3</c:v>
                </c:pt>
                <c:pt idx="34">
                  <c:v>3</c:v>
                </c:pt>
                <c:pt idx="35">
                  <c:v>3</c:v>
                </c:pt>
                <c:pt idx="36">
                  <c:v>3</c:v>
                </c:pt>
                <c:pt idx="37">
                  <c:v>3</c:v>
                </c:pt>
                <c:pt idx="38">
                  <c:v>3</c:v>
                </c:pt>
                <c:pt idx="39">
                  <c:v>3</c:v>
                </c:pt>
                <c:pt idx="40">
                  <c:v>3</c:v>
                </c:pt>
                <c:pt idx="41">
                  <c:v>3</c:v>
                </c:pt>
                <c:pt idx="42">
                  <c:v>3</c:v>
                </c:pt>
                <c:pt idx="43">
                  <c:v>3</c:v>
                </c:pt>
                <c:pt idx="44">
                  <c:v>3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3</c:v>
                </c:pt>
                <c:pt idx="51">
                  <c:v>3</c:v>
                </c:pt>
                <c:pt idx="52">
                  <c:v>3</c:v>
                </c:pt>
                <c:pt idx="53">
                  <c:v>3</c:v>
                </c:pt>
                <c:pt idx="54">
                  <c:v>3</c:v>
                </c:pt>
                <c:pt idx="55">
                  <c:v>3</c:v>
                </c:pt>
                <c:pt idx="56">
                  <c:v>3</c:v>
                </c:pt>
                <c:pt idx="57">
                  <c:v>3</c:v>
                </c:pt>
                <c:pt idx="58">
                  <c:v>3</c:v>
                </c:pt>
                <c:pt idx="59">
                  <c:v>4</c:v>
                </c:pt>
                <c:pt idx="60">
                  <c:v>4</c:v>
                </c:pt>
                <c:pt idx="61">
                  <c:v>4</c:v>
                </c:pt>
                <c:pt idx="62">
                  <c:v>4</c:v>
                </c:pt>
                <c:pt idx="63">
                  <c:v>4</c:v>
                </c:pt>
                <c:pt idx="64">
                  <c:v>4</c:v>
                </c:pt>
                <c:pt idx="65">
                  <c:v>4</c:v>
                </c:pt>
                <c:pt idx="66">
                  <c:v>4</c:v>
                </c:pt>
                <c:pt idx="67">
                  <c:v>4</c:v>
                </c:pt>
                <c:pt idx="68">
                  <c:v>6</c:v>
                </c:pt>
                <c:pt idx="69">
                  <c:v>6</c:v>
                </c:pt>
                <c:pt idx="70">
                  <c:v>6</c:v>
                </c:pt>
                <c:pt idx="71">
                  <c:v>7</c:v>
                </c:pt>
                <c:pt idx="72">
                  <c:v>7</c:v>
                </c:pt>
                <c:pt idx="73">
                  <c:v>7</c:v>
                </c:pt>
                <c:pt idx="74">
                  <c:v>7</c:v>
                </c:pt>
                <c:pt idx="75">
                  <c:v>7</c:v>
                </c:pt>
                <c:pt idx="76">
                  <c:v>7</c:v>
                </c:pt>
                <c:pt idx="77">
                  <c:v>7</c:v>
                </c:pt>
                <c:pt idx="78">
                  <c:v>7</c:v>
                </c:pt>
                <c:pt idx="79">
                  <c:v>7</c:v>
                </c:pt>
                <c:pt idx="80">
                  <c:v>7</c:v>
                </c:pt>
                <c:pt idx="81">
                  <c:v>7</c:v>
                </c:pt>
                <c:pt idx="82">
                  <c:v>7</c:v>
                </c:pt>
                <c:pt idx="83">
                  <c:v>7</c:v>
                </c:pt>
                <c:pt idx="84">
                  <c:v>7</c:v>
                </c:pt>
                <c:pt idx="85">
                  <c:v>7</c:v>
                </c:pt>
                <c:pt idx="86">
                  <c:v>7</c:v>
                </c:pt>
                <c:pt idx="87">
                  <c:v>7</c:v>
                </c:pt>
                <c:pt idx="88">
                  <c:v>7</c:v>
                </c:pt>
                <c:pt idx="89">
                  <c:v>7</c:v>
                </c:pt>
                <c:pt idx="90">
                  <c:v>7</c:v>
                </c:pt>
                <c:pt idx="91">
                  <c:v>7</c:v>
                </c:pt>
                <c:pt idx="92">
                  <c:v>7</c:v>
                </c:pt>
                <c:pt idx="93">
                  <c:v>7</c:v>
                </c:pt>
                <c:pt idx="94">
                  <c:v>7</c:v>
                </c:pt>
                <c:pt idx="95">
                  <c:v>7</c:v>
                </c:pt>
                <c:pt idx="96">
                  <c:v>7</c:v>
                </c:pt>
                <c:pt idx="97">
                  <c:v>7</c:v>
                </c:pt>
                <c:pt idx="98">
                  <c:v>7</c:v>
                </c:pt>
                <c:pt idx="99">
                  <c:v>7</c:v>
                </c:pt>
                <c:pt idx="100">
                  <c:v>7</c:v>
                </c:pt>
                <c:pt idx="101">
                  <c:v>7</c:v>
                </c:pt>
                <c:pt idx="102">
                  <c:v>7</c:v>
                </c:pt>
                <c:pt idx="103">
                  <c:v>7</c:v>
                </c:pt>
                <c:pt idx="104">
                  <c:v>7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8</c:v>
                </c:pt>
                <c:pt idx="110">
                  <c:v>8</c:v>
                </c:pt>
                <c:pt idx="111">
                  <c:v>8</c:v>
                </c:pt>
                <c:pt idx="112">
                  <c:v>8</c:v>
                </c:pt>
                <c:pt idx="113">
                  <c:v>8</c:v>
                </c:pt>
                <c:pt idx="114">
                  <c:v>9</c:v>
                </c:pt>
                <c:pt idx="115">
                  <c:v>10</c:v>
                </c:pt>
                <c:pt idx="116">
                  <c:v>11</c:v>
                </c:pt>
                <c:pt idx="117">
                  <c:v>11</c:v>
                </c:pt>
                <c:pt idx="118">
                  <c:v>11</c:v>
                </c:pt>
                <c:pt idx="119">
                  <c:v>11</c:v>
                </c:pt>
                <c:pt idx="120">
                  <c:v>11</c:v>
                </c:pt>
                <c:pt idx="121">
                  <c:v>11</c:v>
                </c:pt>
                <c:pt idx="122">
                  <c:v>12</c:v>
                </c:pt>
                <c:pt idx="123">
                  <c:v>12</c:v>
                </c:pt>
                <c:pt idx="124">
                  <c:v>12</c:v>
                </c:pt>
                <c:pt idx="125">
                  <c:v>12</c:v>
                </c:pt>
                <c:pt idx="126">
                  <c:v>12</c:v>
                </c:pt>
                <c:pt idx="127">
                  <c:v>12</c:v>
                </c:pt>
                <c:pt idx="128">
                  <c:v>12</c:v>
                </c:pt>
                <c:pt idx="129">
                  <c:v>12</c:v>
                </c:pt>
                <c:pt idx="130">
                  <c:v>12</c:v>
                </c:pt>
                <c:pt idx="131">
                  <c:v>12</c:v>
                </c:pt>
                <c:pt idx="132">
                  <c:v>12</c:v>
                </c:pt>
                <c:pt idx="133">
                  <c:v>15</c:v>
                </c:pt>
                <c:pt idx="134">
                  <c:v>16</c:v>
                </c:pt>
                <c:pt idx="135">
                  <c:v>16</c:v>
                </c:pt>
                <c:pt idx="136">
                  <c:v>16</c:v>
                </c:pt>
                <c:pt idx="137">
                  <c:v>16</c:v>
                </c:pt>
                <c:pt idx="138">
                  <c:v>16</c:v>
                </c:pt>
                <c:pt idx="139">
                  <c:v>16</c:v>
                </c:pt>
                <c:pt idx="140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A6-48BF-9B93-48BEEFF87E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1A6-48BF-9B93-48BEEFF87E4F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1A6-48BF-9B93-48BEEFF87E4F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1A6-48BF-9B93-48BEEFF87E4F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1A6-48BF-9B93-48BEEFF87E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5014147932E-2"/>
          <c:y val="3.1245332363874116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3</c:v>
                </c:pt>
                <c:pt idx="6">
                  <c:v>4</c:v>
                </c:pt>
                <c:pt idx="7">
                  <c:v>4</c:v>
                </c:pt>
                <c:pt idx="8">
                  <c:v>4</c:v>
                </c:pt>
                <c:pt idx="9">
                  <c:v>5</c:v>
                </c:pt>
                <c:pt idx="10">
                  <c:v>5</c:v>
                </c:pt>
                <c:pt idx="11">
                  <c:v>6</c:v>
                </c:pt>
                <c:pt idx="12">
                  <c:v>6</c:v>
                </c:pt>
                <c:pt idx="13">
                  <c:v>6</c:v>
                </c:pt>
                <c:pt idx="14">
                  <c:v>6</c:v>
                </c:pt>
                <c:pt idx="15">
                  <c:v>6</c:v>
                </c:pt>
                <c:pt idx="16">
                  <c:v>6</c:v>
                </c:pt>
                <c:pt idx="17">
                  <c:v>7</c:v>
                </c:pt>
                <c:pt idx="18">
                  <c:v>8</c:v>
                </c:pt>
                <c:pt idx="19">
                  <c:v>9</c:v>
                </c:pt>
                <c:pt idx="20">
                  <c:v>9</c:v>
                </c:pt>
                <c:pt idx="21">
                  <c:v>9</c:v>
                </c:pt>
                <c:pt idx="22">
                  <c:v>9</c:v>
                </c:pt>
                <c:pt idx="23">
                  <c:v>9</c:v>
                </c:pt>
                <c:pt idx="24">
                  <c:v>9</c:v>
                </c:pt>
                <c:pt idx="25">
                  <c:v>9</c:v>
                </c:pt>
                <c:pt idx="26">
                  <c:v>9</c:v>
                </c:pt>
                <c:pt idx="27">
                  <c:v>10</c:v>
                </c:pt>
                <c:pt idx="28">
                  <c:v>10</c:v>
                </c:pt>
                <c:pt idx="29">
                  <c:v>10</c:v>
                </c:pt>
                <c:pt idx="30">
                  <c:v>10</c:v>
                </c:pt>
                <c:pt idx="31">
                  <c:v>10</c:v>
                </c:pt>
                <c:pt idx="32">
                  <c:v>10</c:v>
                </c:pt>
                <c:pt idx="33">
                  <c:v>10</c:v>
                </c:pt>
                <c:pt idx="34">
                  <c:v>10</c:v>
                </c:pt>
                <c:pt idx="35">
                  <c:v>10</c:v>
                </c:pt>
                <c:pt idx="36">
                  <c:v>10</c:v>
                </c:pt>
                <c:pt idx="37">
                  <c:v>10</c:v>
                </c:pt>
                <c:pt idx="38">
                  <c:v>10</c:v>
                </c:pt>
                <c:pt idx="39">
                  <c:v>10</c:v>
                </c:pt>
                <c:pt idx="40">
                  <c:v>10</c:v>
                </c:pt>
                <c:pt idx="41">
                  <c:v>10</c:v>
                </c:pt>
                <c:pt idx="42">
                  <c:v>10</c:v>
                </c:pt>
                <c:pt idx="43">
                  <c:v>10</c:v>
                </c:pt>
                <c:pt idx="44">
                  <c:v>10</c:v>
                </c:pt>
                <c:pt idx="45">
                  <c:v>10</c:v>
                </c:pt>
                <c:pt idx="46">
                  <c:v>10</c:v>
                </c:pt>
                <c:pt idx="47">
                  <c:v>10</c:v>
                </c:pt>
                <c:pt idx="48">
                  <c:v>10</c:v>
                </c:pt>
                <c:pt idx="49">
                  <c:v>10</c:v>
                </c:pt>
                <c:pt idx="50">
                  <c:v>10</c:v>
                </c:pt>
                <c:pt idx="51">
                  <c:v>10</c:v>
                </c:pt>
                <c:pt idx="52">
                  <c:v>10</c:v>
                </c:pt>
                <c:pt idx="53">
                  <c:v>10</c:v>
                </c:pt>
                <c:pt idx="54">
                  <c:v>10</c:v>
                </c:pt>
                <c:pt idx="55">
                  <c:v>10</c:v>
                </c:pt>
                <c:pt idx="56">
                  <c:v>10</c:v>
                </c:pt>
                <c:pt idx="57">
                  <c:v>10</c:v>
                </c:pt>
                <c:pt idx="58">
                  <c:v>10</c:v>
                </c:pt>
                <c:pt idx="59">
                  <c:v>10</c:v>
                </c:pt>
                <c:pt idx="60">
                  <c:v>10</c:v>
                </c:pt>
                <c:pt idx="61">
                  <c:v>10</c:v>
                </c:pt>
                <c:pt idx="62">
                  <c:v>10</c:v>
                </c:pt>
                <c:pt idx="63">
                  <c:v>11</c:v>
                </c:pt>
                <c:pt idx="64">
                  <c:v>11</c:v>
                </c:pt>
                <c:pt idx="65">
                  <c:v>11</c:v>
                </c:pt>
                <c:pt idx="66">
                  <c:v>13</c:v>
                </c:pt>
                <c:pt idx="67">
                  <c:v>13</c:v>
                </c:pt>
                <c:pt idx="68">
                  <c:v>13</c:v>
                </c:pt>
                <c:pt idx="69">
                  <c:v>14</c:v>
                </c:pt>
                <c:pt idx="70">
                  <c:v>14</c:v>
                </c:pt>
                <c:pt idx="71">
                  <c:v>14</c:v>
                </c:pt>
                <c:pt idx="72">
                  <c:v>14</c:v>
                </c:pt>
                <c:pt idx="73">
                  <c:v>14</c:v>
                </c:pt>
                <c:pt idx="74">
                  <c:v>14</c:v>
                </c:pt>
                <c:pt idx="75">
                  <c:v>14</c:v>
                </c:pt>
                <c:pt idx="76">
                  <c:v>14</c:v>
                </c:pt>
                <c:pt idx="77">
                  <c:v>15</c:v>
                </c:pt>
                <c:pt idx="78">
                  <c:v>15</c:v>
                </c:pt>
                <c:pt idx="79">
                  <c:v>15</c:v>
                </c:pt>
                <c:pt idx="80">
                  <c:v>15</c:v>
                </c:pt>
                <c:pt idx="81">
                  <c:v>15</c:v>
                </c:pt>
                <c:pt idx="82">
                  <c:v>15</c:v>
                </c:pt>
                <c:pt idx="83">
                  <c:v>16</c:v>
                </c:pt>
                <c:pt idx="84">
                  <c:v>16</c:v>
                </c:pt>
                <c:pt idx="85">
                  <c:v>16</c:v>
                </c:pt>
                <c:pt idx="86">
                  <c:v>16</c:v>
                </c:pt>
                <c:pt idx="87">
                  <c:v>16</c:v>
                </c:pt>
                <c:pt idx="88">
                  <c:v>16</c:v>
                </c:pt>
                <c:pt idx="89">
                  <c:v>16</c:v>
                </c:pt>
                <c:pt idx="90">
                  <c:v>16</c:v>
                </c:pt>
                <c:pt idx="91">
                  <c:v>16</c:v>
                </c:pt>
                <c:pt idx="92">
                  <c:v>17</c:v>
                </c:pt>
                <c:pt idx="93">
                  <c:v>17</c:v>
                </c:pt>
                <c:pt idx="94">
                  <c:v>18</c:v>
                </c:pt>
                <c:pt idx="95">
                  <c:v>18</c:v>
                </c:pt>
                <c:pt idx="96">
                  <c:v>18</c:v>
                </c:pt>
                <c:pt idx="97">
                  <c:v>18</c:v>
                </c:pt>
                <c:pt idx="98">
                  <c:v>19</c:v>
                </c:pt>
                <c:pt idx="99">
                  <c:v>19</c:v>
                </c:pt>
                <c:pt idx="100">
                  <c:v>19</c:v>
                </c:pt>
                <c:pt idx="101">
                  <c:v>19</c:v>
                </c:pt>
                <c:pt idx="102">
                  <c:v>20</c:v>
                </c:pt>
                <c:pt idx="103">
                  <c:v>20</c:v>
                </c:pt>
                <c:pt idx="104">
                  <c:v>21</c:v>
                </c:pt>
                <c:pt idx="105">
                  <c:v>21</c:v>
                </c:pt>
                <c:pt idx="106">
                  <c:v>21</c:v>
                </c:pt>
                <c:pt idx="107">
                  <c:v>23</c:v>
                </c:pt>
                <c:pt idx="108">
                  <c:v>25</c:v>
                </c:pt>
                <c:pt idx="109">
                  <c:v>26</c:v>
                </c:pt>
                <c:pt idx="110">
                  <c:v>27</c:v>
                </c:pt>
                <c:pt idx="111">
                  <c:v>27</c:v>
                </c:pt>
                <c:pt idx="112">
                  <c:v>27</c:v>
                </c:pt>
                <c:pt idx="113">
                  <c:v>27</c:v>
                </c:pt>
                <c:pt idx="114">
                  <c:v>28</c:v>
                </c:pt>
                <c:pt idx="115">
                  <c:v>28</c:v>
                </c:pt>
                <c:pt idx="116">
                  <c:v>29</c:v>
                </c:pt>
                <c:pt idx="117">
                  <c:v>29</c:v>
                </c:pt>
                <c:pt idx="118">
                  <c:v>30</c:v>
                </c:pt>
                <c:pt idx="119">
                  <c:v>31</c:v>
                </c:pt>
                <c:pt idx="120">
                  <c:v>32</c:v>
                </c:pt>
                <c:pt idx="121">
                  <c:v>33</c:v>
                </c:pt>
                <c:pt idx="122">
                  <c:v>35</c:v>
                </c:pt>
                <c:pt idx="123">
                  <c:v>35</c:v>
                </c:pt>
                <c:pt idx="124">
                  <c:v>35</c:v>
                </c:pt>
                <c:pt idx="125">
                  <c:v>36</c:v>
                </c:pt>
                <c:pt idx="126">
                  <c:v>40</c:v>
                </c:pt>
                <c:pt idx="127">
                  <c:v>44</c:v>
                </c:pt>
                <c:pt idx="128">
                  <c:v>45</c:v>
                </c:pt>
                <c:pt idx="129">
                  <c:v>46</c:v>
                </c:pt>
                <c:pt idx="130">
                  <c:v>48</c:v>
                </c:pt>
                <c:pt idx="131">
                  <c:v>50</c:v>
                </c:pt>
                <c:pt idx="132">
                  <c:v>53</c:v>
                </c:pt>
                <c:pt idx="133">
                  <c:v>56</c:v>
                </c:pt>
                <c:pt idx="134">
                  <c:v>56</c:v>
                </c:pt>
                <c:pt idx="135">
                  <c:v>57</c:v>
                </c:pt>
                <c:pt idx="136">
                  <c:v>58</c:v>
                </c:pt>
                <c:pt idx="137">
                  <c:v>58</c:v>
                </c:pt>
                <c:pt idx="138">
                  <c:v>62</c:v>
                </c:pt>
                <c:pt idx="139">
                  <c:v>65</c:v>
                </c:pt>
                <c:pt idx="140">
                  <c:v>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BFC-4864-9A26-E6330A9DAD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BFC-4864-9A26-E6330A9DAD6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BFC-4864-9A26-E6330A9DAD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3</c:v>
                </c:pt>
                <c:pt idx="14">
                  <c:v>3</c:v>
                </c:pt>
                <c:pt idx="15">
                  <c:v>3</c:v>
                </c:pt>
                <c:pt idx="16">
                  <c:v>3</c:v>
                </c:pt>
                <c:pt idx="17">
                  <c:v>4</c:v>
                </c:pt>
                <c:pt idx="18">
                  <c:v>4</c:v>
                </c:pt>
                <c:pt idx="19">
                  <c:v>4</c:v>
                </c:pt>
                <c:pt idx="20">
                  <c:v>4</c:v>
                </c:pt>
                <c:pt idx="21">
                  <c:v>4</c:v>
                </c:pt>
                <c:pt idx="22">
                  <c:v>4</c:v>
                </c:pt>
                <c:pt idx="23">
                  <c:v>4</c:v>
                </c:pt>
                <c:pt idx="24">
                  <c:v>4</c:v>
                </c:pt>
                <c:pt idx="25">
                  <c:v>4</c:v>
                </c:pt>
                <c:pt idx="26">
                  <c:v>4</c:v>
                </c:pt>
                <c:pt idx="27">
                  <c:v>4</c:v>
                </c:pt>
                <c:pt idx="28">
                  <c:v>4</c:v>
                </c:pt>
                <c:pt idx="29">
                  <c:v>4</c:v>
                </c:pt>
                <c:pt idx="30">
                  <c:v>4</c:v>
                </c:pt>
                <c:pt idx="31">
                  <c:v>4</c:v>
                </c:pt>
                <c:pt idx="32">
                  <c:v>4</c:v>
                </c:pt>
                <c:pt idx="33">
                  <c:v>4</c:v>
                </c:pt>
                <c:pt idx="34">
                  <c:v>4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4</c:v>
                </c:pt>
                <c:pt idx="39">
                  <c:v>4</c:v>
                </c:pt>
                <c:pt idx="40">
                  <c:v>4</c:v>
                </c:pt>
                <c:pt idx="41">
                  <c:v>4</c:v>
                </c:pt>
                <c:pt idx="42">
                  <c:v>4</c:v>
                </c:pt>
                <c:pt idx="43">
                  <c:v>4</c:v>
                </c:pt>
                <c:pt idx="44">
                  <c:v>4</c:v>
                </c:pt>
                <c:pt idx="45">
                  <c:v>4</c:v>
                </c:pt>
                <c:pt idx="46">
                  <c:v>4</c:v>
                </c:pt>
                <c:pt idx="47">
                  <c:v>4</c:v>
                </c:pt>
                <c:pt idx="48">
                  <c:v>4</c:v>
                </c:pt>
                <c:pt idx="49">
                  <c:v>4</c:v>
                </c:pt>
                <c:pt idx="50">
                  <c:v>4</c:v>
                </c:pt>
                <c:pt idx="51">
                  <c:v>4</c:v>
                </c:pt>
                <c:pt idx="52">
                  <c:v>4</c:v>
                </c:pt>
                <c:pt idx="53">
                  <c:v>4</c:v>
                </c:pt>
                <c:pt idx="54">
                  <c:v>4</c:v>
                </c:pt>
                <c:pt idx="55">
                  <c:v>4</c:v>
                </c:pt>
                <c:pt idx="56">
                  <c:v>4</c:v>
                </c:pt>
                <c:pt idx="57">
                  <c:v>4</c:v>
                </c:pt>
                <c:pt idx="58">
                  <c:v>4</c:v>
                </c:pt>
                <c:pt idx="59">
                  <c:v>4</c:v>
                </c:pt>
                <c:pt idx="60">
                  <c:v>4</c:v>
                </c:pt>
                <c:pt idx="61">
                  <c:v>4</c:v>
                </c:pt>
                <c:pt idx="62">
                  <c:v>4</c:v>
                </c:pt>
                <c:pt idx="63">
                  <c:v>4</c:v>
                </c:pt>
                <c:pt idx="64">
                  <c:v>4</c:v>
                </c:pt>
                <c:pt idx="65">
                  <c:v>4</c:v>
                </c:pt>
                <c:pt idx="66">
                  <c:v>4</c:v>
                </c:pt>
                <c:pt idx="67">
                  <c:v>4</c:v>
                </c:pt>
                <c:pt idx="68">
                  <c:v>4</c:v>
                </c:pt>
                <c:pt idx="69">
                  <c:v>4</c:v>
                </c:pt>
                <c:pt idx="70">
                  <c:v>4</c:v>
                </c:pt>
                <c:pt idx="71">
                  <c:v>4</c:v>
                </c:pt>
                <c:pt idx="72">
                  <c:v>4</c:v>
                </c:pt>
                <c:pt idx="73">
                  <c:v>4</c:v>
                </c:pt>
                <c:pt idx="74">
                  <c:v>4</c:v>
                </c:pt>
                <c:pt idx="75">
                  <c:v>4</c:v>
                </c:pt>
                <c:pt idx="76">
                  <c:v>4</c:v>
                </c:pt>
                <c:pt idx="77">
                  <c:v>4</c:v>
                </c:pt>
                <c:pt idx="78">
                  <c:v>4</c:v>
                </c:pt>
                <c:pt idx="79">
                  <c:v>5</c:v>
                </c:pt>
                <c:pt idx="80">
                  <c:v>5</c:v>
                </c:pt>
                <c:pt idx="81">
                  <c:v>5</c:v>
                </c:pt>
                <c:pt idx="82">
                  <c:v>5</c:v>
                </c:pt>
                <c:pt idx="83">
                  <c:v>5</c:v>
                </c:pt>
                <c:pt idx="84">
                  <c:v>5</c:v>
                </c:pt>
                <c:pt idx="85">
                  <c:v>5</c:v>
                </c:pt>
                <c:pt idx="86">
                  <c:v>5</c:v>
                </c:pt>
                <c:pt idx="87">
                  <c:v>5</c:v>
                </c:pt>
                <c:pt idx="88">
                  <c:v>5</c:v>
                </c:pt>
                <c:pt idx="89">
                  <c:v>5</c:v>
                </c:pt>
                <c:pt idx="90">
                  <c:v>5</c:v>
                </c:pt>
                <c:pt idx="91">
                  <c:v>6</c:v>
                </c:pt>
                <c:pt idx="92">
                  <c:v>7</c:v>
                </c:pt>
                <c:pt idx="93">
                  <c:v>7</c:v>
                </c:pt>
                <c:pt idx="94">
                  <c:v>8</c:v>
                </c:pt>
                <c:pt idx="95">
                  <c:v>8</c:v>
                </c:pt>
                <c:pt idx="96">
                  <c:v>8</c:v>
                </c:pt>
                <c:pt idx="97">
                  <c:v>8</c:v>
                </c:pt>
                <c:pt idx="98">
                  <c:v>8</c:v>
                </c:pt>
                <c:pt idx="99">
                  <c:v>8</c:v>
                </c:pt>
                <c:pt idx="100">
                  <c:v>8</c:v>
                </c:pt>
                <c:pt idx="101">
                  <c:v>8</c:v>
                </c:pt>
                <c:pt idx="102">
                  <c:v>8</c:v>
                </c:pt>
                <c:pt idx="103">
                  <c:v>8</c:v>
                </c:pt>
                <c:pt idx="104">
                  <c:v>9</c:v>
                </c:pt>
                <c:pt idx="105">
                  <c:v>9</c:v>
                </c:pt>
                <c:pt idx="106">
                  <c:v>9</c:v>
                </c:pt>
                <c:pt idx="107">
                  <c:v>9</c:v>
                </c:pt>
                <c:pt idx="108">
                  <c:v>9</c:v>
                </c:pt>
                <c:pt idx="109">
                  <c:v>9</c:v>
                </c:pt>
                <c:pt idx="110">
                  <c:v>9</c:v>
                </c:pt>
                <c:pt idx="111">
                  <c:v>9</c:v>
                </c:pt>
                <c:pt idx="112">
                  <c:v>9</c:v>
                </c:pt>
                <c:pt idx="113">
                  <c:v>10</c:v>
                </c:pt>
                <c:pt idx="114">
                  <c:v>10</c:v>
                </c:pt>
                <c:pt idx="115">
                  <c:v>10</c:v>
                </c:pt>
                <c:pt idx="116">
                  <c:v>11</c:v>
                </c:pt>
                <c:pt idx="117">
                  <c:v>11</c:v>
                </c:pt>
                <c:pt idx="118">
                  <c:v>11</c:v>
                </c:pt>
                <c:pt idx="119">
                  <c:v>11</c:v>
                </c:pt>
                <c:pt idx="120">
                  <c:v>11</c:v>
                </c:pt>
                <c:pt idx="121">
                  <c:v>11</c:v>
                </c:pt>
                <c:pt idx="122">
                  <c:v>11</c:v>
                </c:pt>
                <c:pt idx="123">
                  <c:v>11</c:v>
                </c:pt>
                <c:pt idx="124">
                  <c:v>13</c:v>
                </c:pt>
                <c:pt idx="125">
                  <c:v>13</c:v>
                </c:pt>
                <c:pt idx="126">
                  <c:v>13</c:v>
                </c:pt>
                <c:pt idx="127">
                  <c:v>14</c:v>
                </c:pt>
                <c:pt idx="128">
                  <c:v>14</c:v>
                </c:pt>
                <c:pt idx="129">
                  <c:v>15</c:v>
                </c:pt>
                <c:pt idx="130">
                  <c:v>16</c:v>
                </c:pt>
                <c:pt idx="131">
                  <c:v>16</c:v>
                </c:pt>
                <c:pt idx="132">
                  <c:v>16</c:v>
                </c:pt>
                <c:pt idx="133">
                  <c:v>18</c:v>
                </c:pt>
                <c:pt idx="134">
                  <c:v>19</c:v>
                </c:pt>
                <c:pt idx="135">
                  <c:v>19</c:v>
                </c:pt>
                <c:pt idx="136">
                  <c:v>20</c:v>
                </c:pt>
                <c:pt idx="137">
                  <c:v>20</c:v>
                </c:pt>
                <c:pt idx="138">
                  <c:v>20</c:v>
                </c:pt>
                <c:pt idx="139">
                  <c:v>21</c:v>
                </c:pt>
                <c:pt idx="140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27A-46DE-ACB9-C823BE3CB3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27A-46DE-ACB9-C823BE3CB303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27A-46DE-ACB9-C823BE3CB3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4</c:v>
                </c:pt>
                <c:pt idx="8">
                  <c:v>4</c:v>
                </c:pt>
                <c:pt idx="9">
                  <c:v>5</c:v>
                </c:pt>
                <c:pt idx="10">
                  <c:v>5</c:v>
                </c:pt>
                <c:pt idx="11">
                  <c:v>5</c:v>
                </c:pt>
                <c:pt idx="12">
                  <c:v>5</c:v>
                </c:pt>
                <c:pt idx="13">
                  <c:v>5</c:v>
                </c:pt>
                <c:pt idx="14">
                  <c:v>5</c:v>
                </c:pt>
                <c:pt idx="15">
                  <c:v>5</c:v>
                </c:pt>
                <c:pt idx="16">
                  <c:v>5</c:v>
                </c:pt>
                <c:pt idx="17">
                  <c:v>6</c:v>
                </c:pt>
                <c:pt idx="18">
                  <c:v>6</c:v>
                </c:pt>
                <c:pt idx="19">
                  <c:v>6</c:v>
                </c:pt>
                <c:pt idx="20">
                  <c:v>6</c:v>
                </c:pt>
                <c:pt idx="21">
                  <c:v>6</c:v>
                </c:pt>
                <c:pt idx="22">
                  <c:v>6</c:v>
                </c:pt>
                <c:pt idx="23">
                  <c:v>6</c:v>
                </c:pt>
                <c:pt idx="24">
                  <c:v>6</c:v>
                </c:pt>
                <c:pt idx="25">
                  <c:v>6</c:v>
                </c:pt>
                <c:pt idx="26">
                  <c:v>6</c:v>
                </c:pt>
                <c:pt idx="27">
                  <c:v>6</c:v>
                </c:pt>
                <c:pt idx="28">
                  <c:v>6</c:v>
                </c:pt>
                <c:pt idx="29">
                  <c:v>6</c:v>
                </c:pt>
                <c:pt idx="30">
                  <c:v>6</c:v>
                </c:pt>
                <c:pt idx="31">
                  <c:v>6</c:v>
                </c:pt>
                <c:pt idx="32">
                  <c:v>6</c:v>
                </c:pt>
                <c:pt idx="33">
                  <c:v>6</c:v>
                </c:pt>
                <c:pt idx="34">
                  <c:v>6</c:v>
                </c:pt>
                <c:pt idx="35">
                  <c:v>6</c:v>
                </c:pt>
                <c:pt idx="36">
                  <c:v>6</c:v>
                </c:pt>
                <c:pt idx="37">
                  <c:v>6</c:v>
                </c:pt>
                <c:pt idx="38">
                  <c:v>6</c:v>
                </c:pt>
                <c:pt idx="39">
                  <c:v>6</c:v>
                </c:pt>
                <c:pt idx="40">
                  <c:v>6</c:v>
                </c:pt>
                <c:pt idx="41">
                  <c:v>6</c:v>
                </c:pt>
                <c:pt idx="42">
                  <c:v>6</c:v>
                </c:pt>
                <c:pt idx="43">
                  <c:v>6</c:v>
                </c:pt>
                <c:pt idx="44">
                  <c:v>6</c:v>
                </c:pt>
                <c:pt idx="45">
                  <c:v>6</c:v>
                </c:pt>
                <c:pt idx="46">
                  <c:v>6</c:v>
                </c:pt>
                <c:pt idx="47">
                  <c:v>6</c:v>
                </c:pt>
                <c:pt idx="48">
                  <c:v>6</c:v>
                </c:pt>
                <c:pt idx="49">
                  <c:v>6</c:v>
                </c:pt>
                <c:pt idx="50">
                  <c:v>6</c:v>
                </c:pt>
                <c:pt idx="51">
                  <c:v>6</c:v>
                </c:pt>
                <c:pt idx="52">
                  <c:v>6</c:v>
                </c:pt>
                <c:pt idx="53">
                  <c:v>6</c:v>
                </c:pt>
                <c:pt idx="54">
                  <c:v>6</c:v>
                </c:pt>
                <c:pt idx="55">
                  <c:v>6</c:v>
                </c:pt>
                <c:pt idx="56">
                  <c:v>6</c:v>
                </c:pt>
                <c:pt idx="57">
                  <c:v>6</c:v>
                </c:pt>
                <c:pt idx="58">
                  <c:v>6</c:v>
                </c:pt>
                <c:pt idx="59">
                  <c:v>6</c:v>
                </c:pt>
                <c:pt idx="60">
                  <c:v>6</c:v>
                </c:pt>
                <c:pt idx="61">
                  <c:v>6</c:v>
                </c:pt>
                <c:pt idx="62">
                  <c:v>6</c:v>
                </c:pt>
                <c:pt idx="63">
                  <c:v>6</c:v>
                </c:pt>
                <c:pt idx="64">
                  <c:v>6</c:v>
                </c:pt>
                <c:pt idx="65">
                  <c:v>6</c:v>
                </c:pt>
                <c:pt idx="66">
                  <c:v>6</c:v>
                </c:pt>
                <c:pt idx="67">
                  <c:v>7</c:v>
                </c:pt>
                <c:pt idx="68">
                  <c:v>7</c:v>
                </c:pt>
                <c:pt idx="69">
                  <c:v>7</c:v>
                </c:pt>
                <c:pt idx="70">
                  <c:v>7</c:v>
                </c:pt>
                <c:pt idx="71">
                  <c:v>7</c:v>
                </c:pt>
                <c:pt idx="72">
                  <c:v>7</c:v>
                </c:pt>
                <c:pt idx="73">
                  <c:v>7</c:v>
                </c:pt>
                <c:pt idx="74">
                  <c:v>7</c:v>
                </c:pt>
                <c:pt idx="75">
                  <c:v>7</c:v>
                </c:pt>
                <c:pt idx="76">
                  <c:v>7</c:v>
                </c:pt>
                <c:pt idx="77">
                  <c:v>7</c:v>
                </c:pt>
                <c:pt idx="78">
                  <c:v>7</c:v>
                </c:pt>
                <c:pt idx="79">
                  <c:v>7</c:v>
                </c:pt>
                <c:pt idx="80">
                  <c:v>8</c:v>
                </c:pt>
                <c:pt idx="81">
                  <c:v>8</c:v>
                </c:pt>
                <c:pt idx="82">
                  <c:v>8</c:v>
                </c:pt>
                <c:pt idx="83">
                  <c:v>8</c:v>
                </c:pt>
                <c:pt idx="84">
                  <c:v>8</c:v>
                </c:pt>
                <c:pt idx="85">
                  <c:v>8</c:v>
                </c:pt>
                <c:pt idx="86">
                  <c:v>8</c:v>
                </c:pt>
                <c:pt idx="87">
                  <c:v>8</c:v>
                </c:pt>
                <c:pt idx="88">
                  <c:v>8</c:v>
                </c:pt>
                <c:pt idx="89">
                  <c:v>8</c:v>
                </c:pt>
                <c:pt idx="90">
                  <c:v>8</c:v>
                </c:pt>
                <c:pt idx="91">
                  <c:v>8</c:v>
                </c:pt>
                <c:pt idx="92">
                  <c:v>8</c:v>
                </c:pt>
                <c:pt idx="93">
                  <c:v>8</c:v>
                </c:pt>
                <c:pt idx="94">
                  <c:v>8</c:v>
                </c:pt>
                <c:pt idx="95">
                  <c:v>9</c:v>
                </c:pt>
                <c:pt idx="96">
                  <c:v>9</c:v>
                </c:pt>
                <c:pt idx="97">
                  <c:v>9</c:v>
                </c:pt>
                <c:pt idx="98">
                  <c:v>9</c:v>
                </c:pt>
                <c:pt idx="99">
                  <c:v>9</c:v>
                </c:pt>
                <c:pt idx="100">
                  <c:v>10</c:v>
                </c:pt>
                <c:pt idx="101">
                  <c:v>10</c:v>
                </c:pt>
                <c:pt idx="102">
                  <c:v>10</c:v>
                </c:pt>
                <c:pt idx="103">
                  <c:v>10</c:v>
                </c:pt>
                <c:pt idx="104">
                  <c:v>10</c:v>
                </c:pt>
                <c:pt idx="105">
                  <c:v>10</c:v>
                </c:pt>
                <c:pt idx="106">
                  <c:v>10</c:v>
                </c:pt>
                <c:pt idx="107">
                  <c:v>10</c:v>
                </c:pt>
                <c:pt idx="108">
                  <c:v>11</c:v>
                </c:pt>
                <c:pt idx="109">
                  <c:v>11</c:v>
                </c:pt>
                <c:pt idx="110">
                  <c:v>11</c:v>
                </c:pt>
                <c:pt idx="111">
                  <c:v>11</c:v>
                </c:pt>
                <c:pt idx="112">
                  <c:v>11</c:v>
                </c:pt>
                <c:pt idx="113">
                  <c:v>11</c:v>
                </c:pt>
                <c:pt idx="114">
                  <c:v>11</c:v>
                </c:pt>
                <c:pt idx="115">
                  <c:v>12</c:v>
                </c:pt>
                <c:pt idx="116">
                  <c:v>12</c:v>
                </c:pt>
                <c:pt idx="117">
                  <c:v>12</c:v>
                </c:pt>
                <c:pt idx="118">
                  <c:v>12</c:v>
                </c:pt>
                <c:pt idx="119">
                  <c:v>12</c:v>
                </c:pt>
                <c:pt idx="120">
                  <c:v>12</c:v>
                </c:pt>
                <c:pt idx="121">
                  <c:v>12</c:v>
                </c:pt>
                <c:pt idx="122">
                  <c:v>12</c:v>
                </c:pt>
                <c:pt idx="123">
                  <c:v>12</c:v>
                </c:pt>
                <c:pt idx="124">
                  <c:v>12</c:v>
                </c:pt>
                <c:pt idx="125">
                  <c:v>12</c:v>
                </c:pt>
                <c:pt idx="126">
                  <c:v>12</c:v>
                </c:pt>
                <c:pt idx="127">
                  <c:v>13</c:v>
                </c:pt>
                <c:pt idx="128">
                  <c:v>14</c:v>
                </c:pt>
                <c:pt idx="129">
                  <c:v>15</c:v>
                </c:pt>
                <c:pt idx="130">
                  <c:v>16</c:v>
                </c:pt>
                <c:pt idx="131">
                  <c:v>16</c:v>
                </c:pt>
                <c:pt idx="132">
                  <c:v>18</c:v>
                </c:pt>
                <c:pt idx="133">
                  <c:v>18</c:v>
                </c:pt>
                <c:pt idx="134">
                  <c:v>20</c:v>
                </c:pt>
                <c:pt idx="135">
                  <c:v>20</c:v>
                </c:pt>
                <c:pt idx="136">
                  <c:v>20</c:v>
                </c:pt>
                <c:pt idx="137">
                  <c:v>20</c:v>
                </c:pt>
                <c:pt idx="138">
                  <c:v>21</c:v>
                </c:pt>
                <c:pt idx="139">
                  <c:v>22</c:v>
                </c:pt>
                <c:pt idx="140">
                  <c:v>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90-44C1-9DF6-E8F421A89F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790-44C1-9DF6-E8F421A89F3A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790-44C1-9DF6-E8F421A89F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</c:v>
                </c:pt>
                <c:pt idx="1">
                  <c:v>6</c:v>
                </c:pt>
                <c:pt idx="2">
                  <c:v>5</c:v>
                </c:pt>
                <c:pt idx="3">
                  <c:v>5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2</c:v>
                </c:pt>
                <c:pt idx="8">
                  <c:v>4</c:v>
                </c:pt>
                <c:pt idx="9">
                  <c:v>4</c:v>
                </c:pt>
                <c:pt idx="10">
                  <c:v>2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1</c:v>
                </c:pt>
                <c:pt idx="24">
                  <c:v>1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1</c:v>
                </c:pt>
                <c:pt idx="68">
                  <c:v>1</c:v>
                </c:pt>
                <c:pt idx="69">
                  <c:v>1</c:v>
                </c:pt>
                <c:pt idx="70">
                  <c:v>1</c:v>
                </c:pt>
                <c:pt idx="71">
                  <c:v>1</c:v>
                </c:pt>
                <c:pt idx="72">
                  <c:v>1</c:v>
                </c:pt>
                <c:pt idx="73">
                  <c:v>1</c:v>
                </c:pt>
                <c:pt idx="74">
                  <c:v>1</c:v>
                </c:pt>
                <c:pt idx="75">
                  <c:v>1</c:v>
                </c:pt>
                <c:pt idx="76">
                  <c:v>1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2</c:v>
                </c:pt>
                <c:pt idx="81">
                  <c:v>2</c:v>
                </c:pt>
                <c:pt idx="82">
                  <c:v>2</c:v>
                </c:pt>
                <c:pt idx="83">
                  <c:v>1</c:v>
                </c:pt>
                <c:pt idx="84">
                  <c:v>1</c:v>
                </c:pt>
                <c:pt idx="85">
                  <c:v>1</c:v>
                </c:pt>
                <c:pt idx="86">
                  <c:v>1</c:v>
                </c:pt>
                <c:pt idx="87">
                  <c:v>1</c:v>
                </c:pt>
                <c:pt idx="88">
                  <c:v>1</c:v>
                </c:pt>
                <c:pt idx="89">
                  <c:v>1</c:v>
                </c:pt>
                <c:pt idx="90">
                  <c:v>1</c:v>
                </c:pt>
                <c:pt idx="91">
                  <c:v>1</c:v>
                </c:pt>
                <c:pt idx="92">
                  <c:v>1</c:v>
                </c:pt>
                <c:pt idx="93">
                  <c:v>2</c:v>
                </c:pt>
                <c:pt idx="94">
                  <c:v>2</c:v>
                </c:pt>
                <c:pt idx="95">
                  <c:v>3</c:v>
                </c:pt>
                <c:pt idx="96">
                  <c:v>3</c:v>
                </c:pt>
                <c:pt idx="97">
                  <c:v>3</c:v>
                </c:pt>
                <c:pt idx="98">
                  <c:v>3</c:v>
                </c:pt>
                <c:pt idx="99">
                  <c:v>3</c:v>
                </c:pt>
                <c:pt idx="100">
                  <c:v>3</c:v>
                </c:pt>
                <c:pt idx="101">
                  <c:v>3</c:v>
                </c:pt>
                <c:pt idx="102">
                  <c:v>3</c:v>
                </c:pt>
                <c:pt idx="103">
                  <c:v>3</c:v>
                </c:pt>
                <c:pt idx="104">
                  <c:v>3</c:v>
                </c:pt>
                <c:pt idx="105">
                  <c:v>5</c:v>
                </c:pt>
                <c:pt idx="106">
                  <c:v>5</c:v>
                </c:pt>
                <c:pt idx="107">
                  <c:v>5</c:v>
                </c:pt>
                <c:pt idx="108">
                  <c:v>5</c:v>
                </c:pt>
                <c:pt idx="109">
                  <c:v>5</c:v>
                </c:pt>
                <c:pt idx="110">
                  <c:v>4</c:v>
                </c:pt>
                <c:pt idx="111">
                  <c:v>4</c:v>
                </c:pt>
                <c:pt idx="112">
                  <c:v>5</c:v>
                </c:pt>
                <c:pt idx="113">
                  <c:v>5</c:v>
                </c:pt>
                <c:pt idx="114">
                  <c:v>5</c:v>
                </c:pt>
                <c:pt idx="115">
                  <c:v>5</c:v>
                </c:pt>
                <c:pt idx="116">
                  <c:v>4</c:v>
                </c:pt>
                <c:pt idx="117">
                  <c:v>4</c:v>
                </c:pt>
                <c:pt idx="118">
                  <c:v>4</c:v>
                </c:pt>
                <c:pt idx="119">
                  <c:v>4</c:v>
                </c:pt>
                <c:pt idx="120">
                  <c:v>4</c:v>
                </c:pt>
                <c:pt idx="121">
                  <c:v>4</c:v>
                </c:pt>
                <c:pt idx="122">
                  <c:v>5</c:v>
                </c:pt>
                <c:pt idx="123">
                  <c:v>5</c:v>
                </c:pt>
                <c:pt idx="124">
                  <c:v>6</c:v>
                </c:pt>
                <c:pt idx="125">
                  <c:v>5</c:v>
                </c:pt>
                <c:pt idx="126">
                  <c:v>9</c:v>
                </c:pt>
                <c:pt idx="127">
                  <c:v>8</c:v>
                </c:pt>
                <c:pt idx="128">
                  <c:v>6</c:v>
                </c:pt>
                <c:pt idx="129">
                  <c:v>5</c:v>
                </c:pt>
                <c:pt idx="130">
                  <c:v>6</c:v>
                </c:pt>
                <c:pt idx="131">
                  <c:v>6</c:v>
                </c:pt>
                <c:pt idx="132">
                  <c:v>10</c:v>
                </c:pt>
                <c:pt idx="133">
                  <c:v>10</c:v>
                </c:pt>
                <c:pt idx="134">
                  <c:v>9</c:v>
                </c:pt>
                <c:pt idx="135">
                  <c:v>10</c:v>
                </c:pt>
                <c:pt idx="136">
                  <c:v>10</c:v>
                </c:pt>
                <c:pt idx="137">
                  <c:v>10</c:v>
                </c:pt>
                <c:pt idx="138">
                  <c:v>10</c:v>
                </c:pt>
                <c:pt idx="139">
                  <c:v>9</c:v>
                </c:pt>
                <c:pt idx="140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021-4467-BCF5-F751ED0D21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021-4467-BCF5-F751ED0D21AC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021-4467-BCF5-F751ED0D21AC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021-4467-BCF5-F751ED0D21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  <c:max val="12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3</c:v>
                </c:pt>
                <c:pt idx="2">
                  <c:v>4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6</c:v>
                </c:pt>
                <c:pt idx="8">
                  <c:v>6</c:v>
                </c:pt>
                <c:pt idx="9">
                  <c:v>6</c:v>
                </c:pt>
                <c:pt idx="10">
                  <c:v>6</c:v>
                </c:pt>
                <c:pt idx="11">
                  <c:v>7</c:v>
                </c:pt>
                <c:pt idx="12">
                  <c:v>7</c:v>
                </c:pt>
                <c:pt idx="13">
                  <c:v>8</c:v>
                </c:pt>
                <c:pt idx="14">
                  <c:v>8</c:v>
                </c:pt>
                <c:pt idx="15">
                  <c:v>9</c:v>
                </c:pt>
                <c:pt idx="16">
                  <c:v>9</c:v>
                </c:pt>
                <c:pt idx="17">
                  <c:v>9</c:v>
                </c:pt>
                <c:pt idx="18">
                  <c:v>9</c:v>
                </c:pt>
                <c:pt idx="19">
                  <c:v>10</c:v>
                </c:pt>
                <c:pt idx="20">
                  <c:v>10</c:v>
                </c:pt>
                <c:pt idx="21">
                  <c:v>10</c:v>
                </c:pt>
                <c:pt idx="22">
                  <c:v>10</c:v>
                </c:pt>
                <c:pt idx="23">
                  <c:v>10</c:v>
                </c:pt>
                <c:pt idx="24">
                  <c:v>10</c:v>
                </c:pt>
                <c:pt idx="25">
                  <c:v>10</c:v>
                </c:pt>
                <c:pt idx="26">
                  <c:v>10</c:v>
                </c:pt>
                <c:pt idx="27">
                  <c:v>10</c:v>
                </c:pt>
                <c:pt idx="28">
                  <c:v>10</c:v>
                </c:pt>
                <c:pt idx="29">
                  <c:v>10</c:v>
                </c:pt>
                <c:pt idx="30">
                  <c:v>10</c:v>
                </c:pt>
                <c:pt idx="31">
                  <c:v>10</c:v>
                </c:pt>
                <c:pt idx="32">
                  <c:v>10</c:v>
                </c:pt>
                <c:pt idx="33">
                  <c:v>11</c:v>
                </c:pt>
                <c:pt idx="34">
                  <c:v>11</c:v>
                </c:pt>
                <c:pt idx="35">
                  <c:v>11</c:v>
                </c:pt>
                <c:pt idx="36">
                  <c:v>11</c:v>
                </c:pt>
                <c:pt idx="37">
                  <c:v>11</c:v>
                </c:pt>
                <c:pt idx="38">
                  <c:v>11</c:v>
                </c:pt>
                <c:pt idx="39">
                  <c:v>11</c:v>
                </c:pt>
                <c:pt idx="40">
                  <c:v>12</c:v>
                </c:pt>
                <c:pt idx="41">
                  <c:v>12</c:v>
                </c:pt>
                <c:pt idx="42">
                  <c:v>12</c:v>
                </c:pt>
                <c:pt idx="43">
                  <c:v>12</c:v>
                </c:pt>
                <c:pt idx="44">
                  <c:v>12</c:v>
                </c:pt>
                <c:pt idx="45">
                  <c:v>13</c:v>
                </c:pt>
                <c:pt idx="46">
                  <c:v>13</c:v>
                </c:pt>
                <c:pt idx="47">
                  <c:v>13</c:v>
                </c:pt>
                <c:pt idx="48">
                  <c:v>13</c:v>
                </c:pt>
                <c:pt idx="49">
                  <c:v>13</c:v>
                </c:pt>
                <c:pt idx="50">
                  <c:v>14</c:v>
                </c:pt>
                <c:pt idx="51">
                  <c:v>14</c:v>
                </c:pt>
                <c:pt idx="52">
                  <c:v>14</c:v>
                </c:pt>
                <c:pt idx="53">
                  <c:v>14</c:v>
                </c:pt>
                <c:pt idx="54">
                  <c:v>14</c:v>
                </c:pt>
                <c:pt idx="55">
                  <c:v>14</c:v>
                </c:pt>
                <c:pt idx="56">
                  <c:v>14</c:v>
                </c:pt>
                <c:pt idx="57">
                  <c:v>14</c:v>
                </c:pt>
                <c:pt idx="58">
                  <c:v>14</c:v>
                </c:pt>
                <c:pt idx="59">
                  <c:v>14</c:v>
                </c:pt>
                <c:pt idx="60">
                  <c:v>14</c:v>
                </c:pt>
                <c:pt idx="61">
                  <c:v>15</c:v>
                </c:pt>
                <c:pt idx="62">
                  <c:v>15</c:v>
                </c:pt>
                <c:pt idx="63">
                  <c:v>15</c:v>
                </c:pt>
                <c:pt idx="64">
                  <c:v>16</c:v>
                </c:pt>
                <c:pt idx="65">
                  <c:v>16</c:v>
                </c:pt>
                <c:pt idx="66">
                  <c:v>16</c:v>
                </c:pt>
                <c:pt idx="67">
                  <c:v>16</c:v>
                </c:pt>
                <c:pt idx="68">
                  <c:v>16</c:v>
                </c:pt>
                <c:pt idx="69">
                  <c:v>16</c:v>
                </c:pt>
                <c:pt idx="70">
                  <c:v>16</c:v>
                </c:pt>
                <c:pt idx="71">
                  <c:v>16</c:v>
                </c:pt>
                <c:pt idx="72">
                  <c:v>16</c:v>
                </c:pt>
                <c:pt idx="73">
                  <c:v>16</c:v>
                </c:pt>
                <c:pt idx="74">
                  <c:v>16</c:v>
                </c:pt>
                <c:pt idx="75">
                  <c:v>16</c:v>
                </c:pt>
                <c:pt idx="76">
                  <c:v>16</c:v>
                </c:pt>
                <c:pt idx="77">
                  <c:v>16</c:v>
                </c:pt>
                <c:pt idx="78">
                  <c:v>16</c:v>
                </c:pt>
                <c:pt idx="79">
                  <c:v>16</c:v>
                </c:pt>
                <c:pt idx="80">
                  <c:v>16</c:v>
                </c:pt>
                <c:pt idx="81">
                  <c:v>16</c:v>
                </c:pt>
                <c:pt idx="82">
                  <c:v>16</c:v>
                </c:pt>
                <c:pt idx="83">
                  <c:v>17</c:v>
                </c:pt>
                <c:pt idx="84">
                  <c:v>17</c:v>
                </c:pt>
                <c:pt idx="85">
                  <c:v>17</c:v>
                </c:pt>
                <c:pt idx="86">
                  <c:v>18</c:v>
                </c:pt>
                <c:pt idx="87">
                  <c:v>19</c:v>
                </c:pt>
                <c:pt idx="88">
                  <c:v>19</c:v>
                </c:pt>
                <c:pt idx="89">
                  <c:v>19</c:v>
                </c:pt>
                <c:pt idx="90">
                  <c:v>19</c:v>
                </c:pt>
                <c:pt idx="91">
                  <c:v>19</c:v>
                </c:pt>
                <c:pt idx="92">
                  <c:v>19</c:v>
                </c:pt>
                <c:pt idx="93">
                  <c:v>19</c:v>
                </c:pt>
                <c:pt idx="94">
                  <c:v>19</c:v>
                </c:pt>
                <c:pt idx="95">
                  <c:v>19</c:v>
                </c:pt>
                <c:pt idx="96">
                  <c:v>19</c:v>
                </c:pt>
                <c:pt idx="97">
                  <c:v>21</c:v>
                </c:pt>
                <c:pt idx="98">
                  <c:v>21</c:v>
                </c:pt>
                <c:pt idx="99">
                  <c:v>21</c:v>
                </c:pt>
                <c:pt idx="100">
                  <c:v>21</c:v>
                </c:pt>
                <c:pt idx="101">
                  <c:v>21</c:v>
                </c:pt>
                <c:pt idx="102">
                  <c:v>23</c:v>
                </c:pt>
                <c:pt idx="103">
                  <c:v>25</c:v>
                </c:pt>
                <c:pt idx="104">
                  <c:v>25</c:v>
                </c:pt>
                <c:pt idx="105">
                  <c:v>26</c:v>
                </c:pt>
                <c:pt idx="106">
                  <c:v>27</c:v>
                </c:pt>
                <c:pt idx="107">
                  <c:v>29</c:v>
                </c:pt>
                <c:pt idx="108">
                  <c:v>29</c:v>
                </c:pt>
                <c:pt idx="109">
                  <c:v>29</c:v>
                </c:pt>
                <c:pt idx="110">
                  <c:v>30</c:v>
                </c:pt>
                <c:pt idx="111">
                  <c:v>30</c:v>
                </c:pt>
                <c:pt idx="112">
                  <c:v>31</c:v>
                </c:pt>
                <c:pt idx="113">
                  <c:v>31</c:v>
                </c:pt>
                <c:pt idx="114">
                  <c:v>32</c:v>
                </c:pt>
                <c:pt idx="115">
                  <c:v>33</c:v>
                </c:pt>
                <c:pt idx="116">
                  <c:v>33</c:v>
                </c:pt>
                <c:pt idx="117">
                  <c:v>33</c:v>
                </c:pt>
                <c:pt idx="118">
                  <c:v>33</c:v>
                </c:pt>
                <c:pt idx="119">
                  <c:v>34</c:v>
                </c:pt>
                <c:pt idx="120">
                  <c:v>35</c:v>
                </c:pt>
                <c:pt idx="121">
                  <c:v>35</c:v>
                </c:pt>
                <c:pt idx="122">
                  <c:v>35</c:v>
                </c:pt>
                <c:pt idx="123">
                  <c:v>36</c:v>
                </c:pt>
                <c:pt idx="124">
                  <c:v>36</c:v>
                </c:pt>
                <c:pt idx="125">
                  <c:v>37</c:v>
                </c:pt>
                <c:pt idx="126">
                  <c:v>38</c:v>
                </c:pt>
                <c:pt idx="127">
                  <c:v>41</c:v>
                </c:pt>
                <c:pt idx="128">
                  <c:v>42</c:v>
                </c:pt>
                <c:pt idx="129">
                  <c:v>44</c:v>
                </c:pt>
                <c:pt idx="130">
                  <c:v>45</c:v>
                </c:pt>
                <c:pt idx="131">
                  <c:v>47</c:v>
                </c:pt>
                <c:pt idx="132">
                  <c:v>50</c:v>
                </c:pt>
                <c:pt idx="133">
                  <c:v>52</c:v>
                </c:pt>
                <c:pt idx="134">
                  <c:v>54</c:v>
                </c:pt>
                <c:pt idx="135">
                  <c:v>57</c:v>
                </c:pt>
                <c:pt idx="136">
                  <c:v>58</c:v>
                </c:pt>
                <c:pt idx="137">
                  <c:v>58</c:v>
                </c:pt>
                <c:pt idx="138">
                  <c:v>59</c:v>
                </c:pt>
                <c:pt idx="139">
                  <c:v>63</c:v>
                </c:pt>
                <c:pt idx="140">
                  <c:v>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DD-4661-8E00-FA50E7285F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DD-4661-8E00-FA50E7285F44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DD-4661-8E00-FA50E7285F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6</c:v>
                </c:pt>
                <c:pt idx="1">
                  <c:v>6</c:v>
                </c:pt>
                <c:pt idx="2">
                  <c:v>3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4</c:v>
                </c:pt>
                <c:pt idx="10">
                  <c:v>1</c:v>
                </c:pt>
                <c:pt idx="11">
                  <c:v>3</c:v>
                </c:pt>
                <c:pt idx="12">
                  <c:v>2</c:v>
                </c:pt>
                <c:pt idx="13">
                  <c:v>2</c:v>
                </c:pt>
                <c:pt idx="14">
                  <c:v>3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1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1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1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1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1</c:v>
                </c:pt>
                <c:pt idx="80">
                  <c:v>1</c:v>
                </c:pt>
                <c:pt idx="81">
                  <c:v>1</c:v>
                </c:pt>
                <c:pt idx="82">
                  <c:v>1</c:v>
                </c:pt>
                <c:pt idx="83">
                  <c:v>1</c:v>
                </c:pt>
                <c:pt idx="84">
                  <c:v>1</c:v>
                </c:pt>
                <c:pt idx="85">
                  <c:v>1</c:v>
                </c:pt>
                <c:pt idx="86">
                  <c:v>1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1</c:v>
                </c:pt>
                <c:pt idx="108">
                  <c:v>0</c:v>
                </c:pt>
                <c:pt idx="109">
                  <c:v>1</c:v>
                </c:pt>
                <c:pt idx="110">
                  <c:v>1</c:v>
                </c:pt>
                <c:pt idx="111">
                  <c:v>1</c:v>
                </c:pt>
                <c:pt idx="112">
                  <c:v>1</c:v>
                </c:pt>
                <c:pt idx="113">
                  <c:v>1</c:v>
                </c:pt>
                <c:pt idx="114">
                  <c:v>2</c:v>
                </c:pt>
                <c:pt idx="115">
                  <c:v>2</c:v>
                </c:pt>
                <c:pt idx="116">
                  <c:v>2</c:v>
                </c:pt>
                <c:pt idx="117">
                  <c:v>3</c:v>
                </c:pt>
                <c:pt idx="118">
                  <c:v>4</c:v>
                </c:pt>
                <c:pt idx="119">
                  <c:v>6</c:v>
                </c:pt>
                <c:pt idx="120">
                  <c:v>3</c:v>
                </c:pt>
                <c:pt idx="121">
                  <c:v>3</c:v>
                </c:pt>
                <c:pt idx="122">
                  <c:v>3</c:v>
                </c:pt>
                <c:pt idx="123">
                  <c:v>3</c:v>
                </c:pt>
                <c:pt idx="124">
                  <c:v>3</c:v>
                </c:pt>
                <c:pt idx="125">
                  <c:v>4</c:v>
                </c:pt>
                <c:pt idx="126">
                  <c:v>5</c:v>
                </c:pt>
                <c:pt idx="127">
                  <c:v>6</c:v>
                </c:pt>
                <c:pt idx="128">
                  <c:v>6</c:v>
                </c:pt>
                <c:pt idx="129">
                  <c:v>6</c:v>
                </c:pt>
                <c:pt idx="130">
                  <c:v>3</c:v>
                </c:pt>
                <c:pt idx="131">
                  <c:v>4</c:v>
                </c:pt>
                <c:pt idx="132">
                  <c:v>7</c:v>
                </c:pt>
                <c:pt idx="133">
                  <c:v>7</c:v>
                </c:pt>
                <c:pt idx="134">
                  <c:v>6</c:v>
                </c:pt>
                <c:pt idx="135">
                  <c:v>6</c:v>
                </c:pt>
                <c:pt idx="136">
                  <c:v>7</c:v>
                </c:pt>
                <c:pt idx="137">
                  <c:v>9</c:v>
                </c:pt>
                <c:pt idx="138">
                  <c:v>10</c:v>
                </c:pt>
                <c:pt idx="139">
                  <c:v>10</c:v>
                </c:pt>
                <c:pt idx="140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CD-43F7-81E5-3303221A3D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9CD-43F7-81E5-3303221A3D3F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9CD-43F7-81E5-3303221A3D3F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9CD-43F7-81E5-3303221A3D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  <c:max val="1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</c:v>
                </c:pt>
                <c:pt idx="1">
                  <c:v>5</c:v>
                </c:pt>
                <c:pt idx="2">
                  <c:v>4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4</c:v>
                </c:pt>
                <c:pt idx="7">
                  <c:v>4</c:v>
                </c:pt>
                <c:pt idx="8">
                  <c:v>3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1</c:v>
                </c:pt>
                <c:pt idx="15">
                  <c:v>1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1</c:v>
                </c:pt>
                <c:pt idx="23">
                  <c:v>1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1</c:v>
                </c:pt>
                <c:pt idx="50">
                  <c:v>2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1</c:v>
                </c:pt>
                <c:pt idx="56">
                  <c:v>2</c:v>
                </c:pt>
                <c:pt idx="57">
                  <c:v>2</c:v>
                </c:pt>
                <c:pt idx="58">
                  <c:v>2</c:v>
                </c:pt>
                <c:pt idx="59">
                  <c:v>3</c:v>
                </c:pt>
                <c:pt idx="60">
                  <c:v>5</c:v>
                </c:pt>
                <c:pt idx="61">
                  <c:v>4</c:v>
                </c:pt>
                <c:pt idx="62">
                  <c:v>4</c:v>
                </c:pt>
                <c:pt idx="63">
                  <c:v>4</c:v>
                </c:pt>
                <c:pt idx="64">
                  <c:v>4</c:v>
                </c:pt>
                <c:pt idx="65">
                  <c:v>4</c:v>
                </c:pt>
                <c:pt idx="66">
                  <c:v>3</c:v>
                </c:pt>
                <c:pt idx="67">
                  <c:v>0</c:v>
                </c:pt>
                <c:pt idx="68">
                  <c:v>1</c:v>
                </c:pt>
                <c:pt idx="69">
                  <c:v>1</c:v>
                </c:pt>
                <c:pt idx="70">
                  <c:v>1</c:v>
                </c:pt>
                <c:pt idx="71">
                  <c:v>1</c:v>
                </c:pt>
                <c:pt idx="72">
                  <c:v>1</c:v>
                </c:pt>
                <c:pt idx="73">
                  <c:v>1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2</c:v>
                </c:pt>
                <c:pt idx="79">
                  <c:v>2</c:v>
                </c:pt>
                <c:pt idx="80">
                  <c:v>2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1</c:v>
                </c:pt>
                <c:pt idx="85">
                  <c:v>1</c:v>
                </c:pt>
                <c:pt idx="86">
                  <c:v>1</c:v>
                </c:pt>
                <c:pt idx="87">
                  <c:v>1</c:v>
                </c:pt>
                <c:pt idx="88">
                  <c:v>1</c:v>
                </c:pt>
                <c:pt idx="89">
                  <c:v>1</c:v>
                </c:pt>
                <c:pt idx="90">
                  <c:v>1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1</c:v>
                </c:pt>
                <c:pt idx="109">
                  <c:v>1</c:v>
                </c:pt>
                <c:pt idx="110">
                  <c:v>1</c:v>
                </c:pt>
                <c:pt idx="111">
                  <c:v>1</c:v>
                </c:pt>
                <c:pt idx="112">
                  <c:v>1</c:v>
                </c:pt>
                <c:pt idx="113">
                  <c:v>1</c:v>
                </c:pt>
                <c:pt idx="114">
                  <c:v>1</c:v>
                </c:pt>
                <c:pt idx="115">
                  <c:v>1</c:v>
                </c:pt>
                <c:pt idx="116">
                  <c:v>2</c:v>
                </c:pt>
                <c:pt idx="117">
                  <c:v>2</c:v>
                </c:pt>
                <c:pt idx="118">
                  <c:v>2</c:v>
                </c:pt>
                <c:pt idx="119">
                  <c:v>2</c:v>
                </c:pt>
                <c:pt idx="120">
                  <c:v>2</c:v>
                </c:pt>
                <c:pt idx="121">
                  <c:v>1</c:v>
                </c:pt>
                <c:pt idx="122">
                  <c:v>1</c:v>
                </c:pt>
                <c:pt idx="123">
                  <c:v>1</c:v>
                </c:pt>
                <c:pt idx="124">
                  <c:v>1</c:v>
                </c:pt>
                <c:pt idx="125">
                  <c:v>1</c:v>
                </c:pt>
                <c:pt idx="126">
                  <c:v>1</c:v>
                </c:pt>
                <c:pt idx="127">
                  <c:v>1</c:v>
                </c:pt>
                <c:pt idx="128">
                  <c:v>1</c:v>
                </c:pt>
                <c:pt idx="129">
                  <c:v>1</c:v>
                </c:pt>
                <c:pt idx="130">
                  <c:v>0</c:v>
                </c:pt>
                <c:pt idx="131">
                  <c:v>0</c:v>
                </c:pt>
                <c:pt idx="132">
                  <c:v>1</c:v>
                </c:pt>
                <c:pt idx="133">
                  <c:v>2</c:v>
                </c:pt>
                <c:pt idx="134">
                  <c:v>2</c:v>
                </c:pt>
                <c:pt idx="135">
                  <c:v>2</c:v>
                </c:pt>
                <c:pt idx="136">
                  <c:v>2</c:v>
                </c:pt>
                <c:pt idx="137">
                  <c:v>4</c:v>
                </c:pt>
                <c:pt idx="138">
                  <c:v>3</c:v>
                </c:pt>
                <c:pt idx="139">
                  <c:v>4</c:v>
                </c:pt>
                <c:pt idx="140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C9-4E23-AC01-F715965110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FC9-4E23-AC01-F7159651108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FC9-4E23-AC01-F7159651108E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FC9-4E23-AC01-F715965110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EL$1</c:f>
              <c:numCache>
                <c:formatCode>m/d/yyyy</c:formatCode>
                <c:ptCount val="14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7:$EL$7</c:f>
              <c:numCache>
                <c:formatCode>General</c:formatCode>
                <c:ptCount val="14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1</c:v>
                </c:pt>
                <c:pt idx="50">
                  <c:v>1</c:v>
                </c:pt>
                <c:pt idx="51">
                  <c:v>1</c:v>
                </c:pt>
                <c:pt idx="52">
                  <c:v>1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1</c:v>
                </c:pt>
                <c:pt idx="72">
                  <c:v>1</c:v>
                </c:pt>
                <c:pt idx="73">
                  <c:v>1</c:v>
                </c:pt>
                <c:pt idx="74">
                  <c:v>1</c:v>
                </c:pt>
                <c:pt idx="75">
                  <c:v>1</c:v>
                </c:pt>
                <c:pt idx="76">
                  <c:v>1</c:v>
                </c:pt>
                <c:pt idx="77">
                  <c:v>1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1</c:v>
                </c:pt>
                <c:pt idx="101">
                  <c:v>1</c:v>
                </c:pt>
                <c:pt idx="102">
                  <c:v>1</c:v>
                </c:pt>
                <c:pt idx="103">
                  <c:v>1</c:v>
                </c:pt>
                <c:pt idx="104">
                  <c:v>2</c:v>
                </c:pt>
                <c:pt idx="105">
                  <c:v>3</c:v>
                </c:pt>
                <c:pt idx="106">
                  <c:v>3</c:v>
                </c:pt>
                <c:pt idx="107">
                  <c:v>4</c:v>
                </c:pt>
                <c:pt idx="108">
                  <c:v>4</c:v>
                </c:pt>
                <c:pt idx="109">
                  <c:v>3</c:v>
                </c:pt>
                <c:pt idx="110">
                  <c:v>2</c:v>
                </c:pt>
                <c:pt idx="111">
                  <c:v>2</c:v>
                </c:pt>
                <c:pt idx="112">
                  <c:v>2</c:v>
                </c:pt>
                <c:pt idx="113">
                  <c:v>2</c:v>
                </c:pt>
                <c:pt idx="114">
                  <c:v>1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1</c:v>
                </c:pt>
                <c:pt idx="122">
                  <c:v>1</c:v>
                </c:pt>
                <c:pt idx="123">
                  <c:v>1</c:v>
                </c:pt>
                <c:pt idx="124">
                  <c:v>1</c:v>
                </c:pt>
                <c:pt idx="125">
                  <c:v>1</c:v>
                </c:pt>
                <c:pt idx="126">
                  <c:v>1</c:v>
                </c:pt>
                <c:pt idx="127">
                  <c:v>1</c:v>
                </c:pt>
                <c:pt idx="128">
                  <c:v>1</c:v>
                </c:pt>
                <c:pt idx="129">
                  <c:v>1</c:v>
                </c:pt>
                <c:pt idx="130">
                  <c:v>1</c:v>
                </c:pt>
                <c:pt idx="131">
                  <c:v>1</c:v>
                </c:pt>
                <c:pt idx="132">
                  <c:v>1</c:v>
                </c:pt>
                <c:pt idx="133">
                  <c:v>1</c:v>
                </c:pt>
                <c:pt idx="134">
                  <c:v>1</c:v>
                </c:pt>
                <c:pt idx="135">
                  <c:v>3</c:v>
                </c:pt>
                <c:pt idx="136">
                  <c:v>2</c:v>
                </c:pt>
                <c:pt idx="137">
                  <c:v>1</c:v>
                </c:pt>
                <c:pt idx="138">
                  <c:v>1</c:v>
                </c:pt>
                <c:pt idx="139">
                  <c:v>1</c:v>
                </c:pt>
                <c:pt idx="14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D1F-4726-9BB0-CA47B0E9C0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EL$1</c:f>
              <c:numCache>
                <c:formatCode>m/d/yyyy</c:formatCode>
                <c:ptCount val="14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2:$EL$2</c:f>
              <c:numCache>
                <c:formatCode>General</c:formatCode>
                <c:ptCount val="14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D1F-4726-9BB0-CA47B0E9C0B9}"/>
            </c:ext>
          </c:extLst>
        </c:ser>
        <c:ser>
          <c:idx val="2"/>
          <c:order val="1"/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EL$1</c:f>
              <c:numCache>
                <c:formatCode>m/d/yyyy</c:formatCode>
                <c:ptCount val="14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EL$3</c:f>
              <c:numCache>
                <c:formatCode>General</c:formatCode>
                <c:ptCount val="14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D1F-4726-9BB0-CA47B0E9C0B9}"/>
            </c:ext>
          </c:extLst>
        </c:ser>
        <c:ser>
          <c:idx val="1"/>
          <c:order val="2"/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EL$1</c:f>
              <c:numCache>
                <c:formatCode>m/d/yyyy</c:formatCode>
                <c:ptCount val="14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4:$EL$4</c:f>
              <c:numCache>
                <c:formatCode>General</c:formatCode>
                <c:ptCount val="14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D1F-4726-9BB0-CA47B0E9C0B9}"/>
            </c:ext>
          </c:extLst>
        </c:ser>
        <c:ser>
          <c:idx val="0"/>
          <c:order val="3"/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EL$1</c:f>
              <c:numCache>
                <c:formatCode>m/d/yyyy</c:formatCode>
                <c:ptCount val="14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EL$5</c:f>
              <c:numCache>
                <c:formatCode>General</c:formatCode>
                <c:ptCount val="14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D1F-4726-9BB0-CA47B0E9C0B9}"/>
            </c:ext>
          </c:extLst>
        </c:ser>
        <c:ser>
          <c:idx val="4"/>
          <c:order val="4"/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EL$1</c:f>
              <c:numCache>
                <c:formatCode>m/d/yyyy</c:formatCode>
                <c:ptCount val="14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EL$6</c:f>
              <c:numCache>
                <c:formatCode>General</c:formatCode>
                <c:ptCount val="14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D1F-4726-9BB0-CA47B0E9C0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2</c:v>
                </c:pt>
                <c:pt idx="1">
                  <c:v>11</c:v>
                </c:pt>
                <c:pt idx="2">
                  <c:v>9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2</c:v>
                </c:pt>
                <c:pt idx="7">
                  <c:v>4</c:v>
                </c:pt>
                <c:pt idx="8">
                  <c:v>5</c:v>
                </c:pt>
                <c:pt idx="9">
                  <c:v>5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5</c:v>
                </c:pt>
                <c:pt idx="14">
                  <c:v>4</c:v>
                </c:pt>
                <c:pt idx="15">
                  <c:v>5</c:v>
                </c:pt>
                <c:pt idx="16">
                  <c:v>4</c:v>
                </c:pt>
                <c:pt idx="17">
                  <c:v>3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1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1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1</c:v>
                </c:pt>
                <c:pt idx="74">
                  <c:v>1</c:v>
                </c:pt>
                <c:pt idx="75">
                  <c:v>0</c:v>
                </c:pt>
                <c:pt idx="76">
                  <c:v>2</c:v>
                </c:pt>
                <c:pt idx="77">
                  <c:v>3</c:v>
                </c:pt>
                <c:pt idx="78">
                  <c:v>3</c:v>
                </c:pt>
                <c:pt idx="79">
                  <c:v>3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3</c:v>
                </c:pt>
                <c:pt idx="86">
                  <c:v>2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2</c:v>
                </c:pt>
                <c:pt idx="91">
                  <c:v>2</c:v>
                </c:pt>
                <c:pt idx="92">
                  <c:v>2</c:v>
                </c:pt>
                <c:pt idx="93">
                  <c:v>2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3</c:v>
                </c:pt>
                <c:pt idx="98">
                  <c:v>4</c:v>
                </c:pt>
                <c:pt idx="99">
                  <c:v>2</c:v>
                </c:pt>
                <c:pt idx="100">
                  <c:v>2</c:v>
                </c:pt>
                <c:pt idx="101">
                  <c:v>2</c:v>
                </c:pt>
                <c:pt idx="102">
                  <c:v>2</c:v>
                </c:pt>
                <c:pt idx="103">
                  <c:v>2</c:v>
                </c:pt>
                <c:pt idx="104">
                  <c:v>3</c:v>
                </c:pt>
                <c:pt idx="105">
                  <c:v>4</c:v>
                </c:pt>
                <c:pt idx="106">
                  <c:v>3</c:v>
                </c:pt>
                <c:pt idx="107">
                  <c:v>3</c:v>
                </c:pt>
                <c:pt idx="108">
                  <c:v>3</c:v>
                </c:pt>
                <c:pt idx="109">
                  <c:v>3</c:v>
                </c:pt>
                <c:pt idx="110">
                  <c:v>2</c:v>
                </c:pt>
                <c:pt idx="111">
                  <c:v>5</c:v>
                </c:pt>
                <c:pt idx="112">
                  <c:v>4</c:v>
                </c:pt>
                <c:pt idx="113">
                  <c:v>3</c:v>
                </c:pt>
                <c:pt idx="114">
                  <c:v>4</c:v>
                </c:pt>
                <c:pt idx="115">
                  <c:v>4</c:v>
                </c:pt>
                <c:pt idx="116">
                  <c:v>4</c:v>
                </c:pt>
                <c:pt idx="117">
                  <c:v>4</c:v>
                </c:pt>
                <c:pt idx="118">
                  <c:v>4</c:v>
                </c:pt>
                <c:pt idx="119">
                  <c:v>4</c:v>
                </c:pt>
                <c:pt idx="120">
                  <c:v>4</c:v>
                </c:pt>
                <c:pt idx="121">
                  <c:v>3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4</c:v>
                </c:pt>
                <c:pt idx="126">
                  <c:v>4</c:v>
                </c:pt>
                <c:pt idx="127">
                  <c:v>5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7</c:v>
                </c:pt>
                <c:pt idx="133">
                  <c:v>7</c:v>
                </c:pt>
                <c:pt idx="134">
                  <c:v>8</c:v>
                </c:pt>
                <c:pt idx="135">
                  <c:v>10</c:v>
                </c:pt>
                <c:pt idx="136">
                  <c:v>9</c:v>
                </c:pt>
                <c:pt idx="137">
                  <c:v>5</c:v>
                </c:pt>
                <c:pt idx="138">
                  <c:v>5</c:v>
                </c:pt>
                <c:pt idx="139">
                  <c:v>5</c:v>
                </c:pt>
                <c:pt idx="14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C6E-45B1-9788-DD6A415910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C6E-45B1-9788-DD6A41591001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C6E-45B1-9788-DD6A41591001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C6E-45B1-9788-DD6A415910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</c:v>
                </c:pt>
                <c:pt idx="1">
                  <c:v>3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1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1</c:v>
                </c:pt>
                <c:pt idx="88">
                  <c:v>1</c:v>
                </c:pt>
                <c:pt idx="89">
                  <c:v>1</c:v>
                </c:pt>
                <c:pt idx="90">
                  <c:v>1</c:v>
                </c:pt>
                <c:pt idx="91">
                  <c:v>1</c:v>
                </c:pt>
                <c:pt idx="92">
                  <c:v>1</c:v>
                </c:pt>
                <c:pt idx="93">
                  <c:v>1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1</c:v>
                </c:pt>
                <c:pt idx="99">
                  <c:v>1</c:v>
                </c:pt>
                <c:pt idx="100">
                  <c:v>1</c:v>
                </c:pt>
                <c:pt idx="101">
                  <c:v>2</c:v>
                </c:pt>
                <c:pt idx="102">
                  <c:v>2</c:v>
                </c:pt>
                <c:pt idx="103">
                  <c:v>3</c:v>
                </c:pt>
                <c:pt idx="104">
                  <c:v>2</c:v>
                </c:pt>
                <c:pt idx="105">
                  <c:v>3</c:v>
                </c:pt>
                <c:pt idx="106">
                  <c:v>5</c:v>
                </c:pt>
                <c:pt idx="107">
                  <c:v>4</c:v>
                </c:pt>
                <c:pt idx="108">
                  <c:v>3</c:v>
                </c:pt>
                <c:pt idx="109">
                  <c:v>3</c:v>
                </c:pt>
                <c:pt idx="110">
                  <c:v>3</c:v>
                </c:pt>
                <c:pt idx="111">
                  <c:v>3</c:v>
                </c:pt>
                <c:pt idx="112">
                  <c:v>2</c:v>
                </c:pt>
                <c:pt idx="113">
                  <c:v>1</c:v>
                </c:pt>
                <c:pt idx="114">
                  <c:v>1</c:v>
                </c:pt>
                <c:pt idx="115">
                  <c:v>1</c:v>
                </c:pt>
                <c:pt idx="116">
                  <c:v>1</c:v>
                </c:pt>
                <c:pt idx="117">
                  <c:v>1</c:v>
                </c:pt>
                <c:pt idx="118">
                  <c:v>1</c:v>
                </c:pt>
                <c:pt idx="119">
                  <c:v>1</c:v>
                </c:pt>
                <c:pt idx="120">
                  <c:v>1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2</c:v>
                </c:pt>
                <c:pt idx="128">
                  <c:v>2</c:v>
                </c:pt>
                <c:pt idx="129">
                  <c:v>2</c:v>
                </c:pt>
                <c:pt idx="130">
                  <c:v>2</c:v>
                </c:pt>
                <c:pt idx="131">
                  <c:v>2</c:v>
                </c:pt>
                <c:pt idx="132">
                  <c:v>2</c:v>
                </c:pt>
                <c:pt idx="133">
                  <c:v>1</c:v>
                </c:pt>
                <c:pt idx="134">
                  <c:v>1</c:v>
                </c:pt>
                <c:pt idx="135">
                  <c:v>0</c:v>
                </c:pt>
                <c:pt idx="136">
                  <c:v>1</c:v>
                </c:pt>
                <c:pt idx="137">
                  <c:v>1</c:v>
                </c:pt>
                <c:pt idx="138">
                  <c:v>2</c:v>
                </c:pt>
                <c:pt idx="139">
                  <c:v>2</c:v>
                </c:pt>
                <c:pt idx="14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81-4796-AFE7-473D7EF264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F81-4796-AFE7-473D7EF26445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F81-4796-AFE7-473D7EF26445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F81-4796-AFE7-473D7EF264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0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1</c:v>
                </c:pt>
                <c:pt idx="43">
                  <c:v>2</c:v>
                </c:pt>
                <c:pt idx="44">
                  <c:v>2</c:v>
                </c:pt>
                <c:pt idx="45">
                  <c:v>2</c:v>
                </c:pt>
                <c:pt idx="46">
                  <c:v>2</c:v>
                </c:pt>
                <c:pt idx="47">
                  <c:v>2</c:v>
                </c:pt>
                <c:pt idx="48">
                  <c:v>1</c:v>
                </c:pt>
                <c:pt idx="49">
                  <c:v>1</c:v>
                </c:pt>
                <c:pt idx="50">
                  <c:v>1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2</c:v>
                </c:pt>
                <c:pt idx="56">
                  <c:v>1</c:v>
                </c:pt>
                <c:pt idx="57">
                  <c:v>1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2</c:v>
                </c:pt>
                <c:pt idx="66">
                  <c:v>3</c:v>
                </c:pt>
                <c:pt idx="67">
                  <c:v>3</c:v>
                </c:pt>
                <c:pt idx="68">
                  <c:v>3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1</c:v>
                </c:pt>
                <c:pt idx="78">
                  <c:v>1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1</c:v>
                </c:pt>
                <c:pt idx="100">
                  <c:v>1</c:v>
                </c:pt>
                <c:pt idx="101">
                  <c:v>0</c:v>
                </c:pt>
                <c:pt idx="102">
                  <c:v>1</c:v>
                </c:pt>
                <c:pt idx="103">
                  <c:v>1</c:v>
                </c:pt>
                <c:pt idx="104">
                  <c:v>1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1</c:v>
                </c:pt>
                <c:pt idx="111">
                  <c:v>1</c:v>
                </c:pt>
                <c:pt idx="112">
                  <c:v>1</c:v>
                </c:pt>
                <c:pt idx="113">
                  <c:v>1</c:v>
                </c:pt>
                <c:pt idx="114">
                  <c:v>1</c:v>
                </c:pt>
                <c:pt idx="115">
                  <c:v>1</c:v>
                </c:pt>
                <c:pt idx="116">
                  <c:v>1</c:v>
                </c:pt>
                <c:pt idx="117">
                  <c:v>1</c:v>
                </c:pt>
                <c:pt idx="118">
                  <c:v>1</c:v>
                </c:pt>
                <c:pt idx="119">
                  <c:v>1</c:v>
                </c:pt>
                <c:pt idx="120">
                  <c:v>1</c:v>
                </c:pt>
                <c:pt idx="121">
                  <c:v>1</c:v>
                </c:pt>
                <c:pt idx="122">
                  <c:v>1</c:v>
                </c:pt>
                <c:pt idx="123">
                  <c:v>1</c:v>
                </c:pt>
                <c:pt idx="124">
                  <c:v>1</c:v>
                </c:pt>
                <c:pt idx="125">
                  <c:v>1</c:v>
                </c:pt>
                <c:pt idx="126">
                  <c:v>1</c:v>
                </c:pt>
                <c:pt idx="127">
                  <c:v>2</c:v>
                </c:pt>
                <c:pt idx="128">
                  <c:v>2</c:v>
                </c:pt>
                <c:pt idx="129">
                  <c:v>4</c:v>
                </c:pt>
                <c:pt idx="130">
                  <c:v>4</c:v>
                </c:pt>
                <c:pt idx="131">
                  <c:v>4</c:v>
                </c:pt>
                <c:pt idx="132">
                  <c:v>4</c:v>
                </c:pt>
                <c:pt idx="133">
                  <c:v>3</c:v>
                </c:pt>
                <c:pt idx="134">
                  <c:v>3</c:v>
                </c:pt>
                <c:pt idx="135">
                  <c:v>3</c:v>
                </c:pt>
                <c:pt idx="136">
                  <c:v>2</c:v>
                </c:pt>
                <c:pt idx="137">
                  <c:v>3</c:v>
                </c:pt>
                <c:pt idx="138">
                  <c:v>3</c:v>
                </c:pt>
                <c:pt idx="139">
                  <c:v>3</c:v>
                </c:pt>
                <c:pt idx="14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9B-4089-8434-949127744B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69B-4089-8434-949127744B71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69B-4089-8434-949127744B71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69B-4089-8434-949127744B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49F641-8B08-492E-BBD7-40ACF6788728}" type="datetimeFigureOut">
              <a:rPr lang="cs-CZ" smtClean="0"/>
              <a:t>20.10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74A5B4-1B79-4F37-B1D1-18810C532CE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893929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339752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4938248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6842059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0340427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6190226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41787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2280291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8946072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984263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5422991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344555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2933539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1818648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6459979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8766778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2413342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9549050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1129094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094728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1701754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5277198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264442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7342249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826982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520008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781167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112179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241432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08240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433432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C30238A-57B0-4F1D-8FF9-33390AD7AD0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85523AF6-6B8B-40E3-93B0-4204C26341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5E68C4B-BB66-4B5C-9C16-E09CF2D321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0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C876515-348C-4A89-B087-F87CD03069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2F5EBC1-2CE4-424E-8139-A29603CC46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327282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2441A1F-F0A9-4DDD-851D-3550251E1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115E18BF-9909-490D-9479-A46709B8E23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66DDA25-10FD-47AB-A08F-AEA981BD98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0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24A5327-210C-4CA0-9845-EF4DEED3E5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D032F2A-07F5-48BF-A381-F9589A677E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235507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FCC64D39-090E-4706-B854-36A08941984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7D16DA3D-B814-4F1B-BEF6-F67B0A01EC8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88B62E-B6F3-47C5-BE7E-5CCF6DE9E6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0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58CAFAB-84A5-4F2C-AC60-54CE920BC5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F326232-9918-4D71-9FFD-00976CC77A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877690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6128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5614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6824624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35892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0.10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361705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A64615B-B636-4039-BC86-B20FA0C225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686E7F13-05D4-47E2-B062-FB149D83DA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BB92DDC-F499-4DDA-9C62-B6A0B38FE0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0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CCD2CEC-6F78-4E89-92FD-D16A99450E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EB1239F-F719-4B37-92A9-5E5B1BB743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072289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CBF39F6-2D47-43A4-96BF-5EE6AC4940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80EC2D4-5185-42BE-8266-08B291CBE4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6B743A0-3FEC-4D90-8AC9-DB87E716F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0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E28AB84-9F54-4C85-BF4D-3DEDAC9E5E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AD53DEA-0D27-47B9-8B94-7D30612578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298590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063AC31-1609-4BB5-AECB-CD025D7C20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DC052899-D486-4AD5-9B7F-D42350CAD49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8A1981B2-9EFB-4322-9C7B-C577055FB7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5E5FD625-567F-4E56-93E2-A0DE2369C1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0.10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C31B977-F456-42DE-AD8D-3FFDC70576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8E8F7E02-0B1A-4C5E-900F-FF241B8F73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867540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BF6C006-6088-455C-81F3-EA41833787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63F31E1A-E3CD-4504-A702-5B706CC6ECF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4627730D-7434-4198-BF1C-C604889517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1FCF36F5-3DCC-4833-BC0C-EBAB9B90409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CA442FE-A13E-44FE-A9C1-402E2C53EF2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A9E76946-D378-48A1-A800-01FF1A9EF2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0.10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41CF45DC-C4D7-4680-8548-D5D4B7E39A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DF4DA369-2F49-4206-9E26-EFB787948C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64938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519F910-EC25-49C0-B026-56746DEA58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3DD96CD7-B01A-4F34-AAD9-6E38FA6D1E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0.10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EE5C4440-CC3C-433E-991A-42B6F11522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D70B27C2-09D1-4BA3-B6EB-44D5386CBE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986305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CD84F022-E918-4978-8921-4500AA6227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0.10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7B8F4BB3-1FB6-437A-BBE1-4C934F196F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38262D6E-74A3-4C10-A33E-E40A373EE8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744699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5A0C74-345F-4200-8159-E16B9E7BD1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F397F97-F035-4CE5-AC97-5EF6A8028C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9664BE1E-B4B6-4306-B2C7-57A22EE2072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BD7FA503-E644-41C1-81D3-B616C7C4CD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0.10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A6BE9CD1-39C1-4567-8E58-731290EE49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D48AC61-C0E2-4247-8215-9CF76AD5BB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435154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B2F419E-288C-46C6-898D-254A41706A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B1F92B9F-3F90-4BD3-B6CA-71D1320B7E9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6AF52DA7-9973-47D4-934A-65C721DFBDF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7CBB338D-7400-4CD2-AAB1-8E67B98252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0.10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529E4E6-0FD8-411C-BA30-E762725A36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1EE65E6B-B2B2-48E6-ABBE-1AFE69FEEC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266782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7C2EF0D3-6C36-436E-8168-92954D40BC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39EFEF33-91B4-4440-BBB1-28F8FAD9D1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D1931A3-5C5F-4892-BC44-87158DFD543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BD0EFD-9DC8-4D07-A0E2-5F8BCECB5CC3}" type="datetimeFigureOut">
              <a:rPr lang="cs-CZ" smtClean="0"/>
              <a:t>20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C04215F5-1033-4764-BA77-01DE658829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EF84541-B5BC-4212-83F3-07537F03C7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61946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BD0EFD-9DC8-4D07-A0E2-5F8BCECB5CC3}" type="datetimeFigureOut">
              <a:rPr lang="cs-CZ" smtClean="0"/>
              <a:t>20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22056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9.xml"/><Relationship Id="rId3" Type="http://schemas.openxmlformats.org/officeDocument/2006/relationships/tags" Target="../tags/tag5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5" Type="http://schemas.openxmlformats.org/officeDocument/2006/relationships/tags" Target="../tags/tag55.xml"/><Relationship Id="rId4" Type="http://schemas.openxmlformats.org/officeDocument/2006/relationships/tags" Target="../tags/tag54.xml"/><Relationship Id="rId9" Type="http://schemas.openxmlformats.org/officeDocument/2006/relationships/chart" Target="../charts/chart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0.xml"/><Relationship Id="rId3" Type="http://schemas.openxmlformats.org/officeDocument/2006/relationships/tags" Target="../tags/tag59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5" Type="http://schemas.openxmlformats.org/officeDocument/2006/relationships/tags" Target="../tags/tag61.xml"/><Relationship Id="rId4" Type="http://schemas.openxmlformats.org/officeDocument/2006/relationships/tags" Target="../tags/tag60.xml"/><Relationship Id="rId9" Type="http://schemas.openxmlformats.org/officeDocument/2006/relationships/chart" Target="../charts/chart1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1.xml"/><Relationship Id="rId3" Type="http://schemas.openxmlformats.org/officeDocument/2006/relationships/tags" Target="../tags/tag65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5" Type="http://schemas.openxmlformats.org/officeDocument/2006/relationships/tags" Target="../tags/tag67.xml"/><Relationship Id="rId4" Type="http://schemas.openxmlformats.org/officeDocument/2006/relationships/tags" Target="../tags/tag66.xml"/><Relationship Id="rId9" Type="http://schemas.openxmlformats.org/officeDocument/2006/relationships/chart" Target="../charts/chart1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2.xml"/><Relationship Id="rId3" Type="http://schemas.openxmlformats.org/officeDocument/2006/relationships/tags" Target="../tags/tag71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tags" Target="../tags/tag74.xml"/><Relationship Id="rId5" Type="http://schemas.openxmlformats.org/officeDocument/2006/relationships/tags" Target="../tags/tag73.xml"/><Relationship Id="rId4" Type="http://schemas.openxmlformats.org/officeDocument/2006/relationships/tags" Target="../tags/tag72.xml"/><Relationship Id="rId9" Type="http://schemas.openxmlformats.org/officeDocument/2006/relationships/chart" Target="../charts/chart1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3.xml"/><Relationship Id="rId3" Type="http://schemas.openxmlformats.org/officeDocument/2006/relationships/tags" Target="../tags/tag77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5" Type="http://schemas.openxmlformats.org/officeDocument/2006/relationships/tags" Target="../tags/tag79.xml"/><Relationship Id="rId4" Type="http://schemas.openxmlformats.org/officeDocument/2006/relationships/tags" Target="../tags/tag78.xml"/><Relationship Id="rId9" Type="http://schemas.openxmlformats.org/officeDocument/2006/relationships/chart" Target="../charts/chart1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4.xml"/><Relationship Id="rId3" Type="http://schemas.openxmlformats.org/officeDocument/2006/relationships/tags" Target="../tags/tag8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chart" Target="../charts/chart1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5.xml"/><Relationship Id="rId3" Type="http://schemas.openxmlformats.org/officeDocument/2006/relationships/tags" Target="../tags/tag89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tags" Target="../tags/tag92.xml"/><Relationship Id="rId5" Type="http://schemas.openxmlformats.org/officeDocument/2006/relationships/tags" Target="../tags/tag91.xml"/><Relationship Id="rId4" Type="http://schemas.openxmlformats.org/officeDocument/2006/relationships/tags" Target="../tags/tag90.xml"/><Relationship Id="rId9" Type="http://schemas.openxmlformats.org/officeDocument/2006/relationships/chart" Target="../charts/chart1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2.xml"/><Relationship Id="rId1" Type="http://schemas.openxmlformats.org/officeDocument/2006/relationships/tags" Target="../tags/tag9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6.xml"/><Relationship Id="rId3" Type="http://schemas.openxmlformats.org/officeDocument/2006/relationships/tags" Target="../tags/tag96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5" Type="http://schemas.openxmlformats.org/officeDocument/2006/relationships/tags" Target="../tags/tag98.xml"/><Relationship Id="rId4" Type="http://schemas.openxmlformats.org/officeDocument/2006/relationships/tags" Target="../tags/tag97.xml"/><Relationship Id="rId9" Type="http://schemas.openxmlformats.org/officeDocument/2006/relationships/chart" Target="../charts/chart16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7.xml"/><Relationship Id="rId3" Type="http://schemas.openxmlformats.org/officeDocument/2006/relationships/tags" Target="../tags/tag102.xml"/><Relationship Id="rId7" Type="http://schemas.openxmlformats.org/officeDocument/2006/relationships/notesSlide" Target="../notesSlides/notesSlide17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04.xml"/><Relationship Id="rId4" Type="http://schemas.openxmlformats.org/officeDocument/2006/relationships/tags" Target="../tags/tag10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4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Relationship Id="rId9" Type="http://schemas.openxmlformats.org/officeDocument/2006/relationships/chart" Target="../charts/char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7" Type="http://schemas.openxmlformats.org/officeDocument/2006/relationships/chart" Target="../charts/chart18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8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9.xml"/><Relationship Id="rId3" Type="http://schemas.openxmlformats.org/officeDocument/2006/relationships/tags" Target="../tags/tag111.xml"/><Relationship Id="rId7" Type="http://schemas.openxmlformats.org/officeDocument/2006/relationships/notesSlide" Target="../notesSlides/notesSlide19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13.xml"/><Relationship Id="rId4" Type="http://schemas.openxmlformats.org/officeDocument/2006/relationships/tags" Target="../tags/tag1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116.xml"/><Relationship Id="rId7" Type="http://schemas.openxmlformats.org/officeDocument/2006/relationships/chart" Target="../charts/chart20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120.xml"/><Relationship Id="rId7" Type="http://schemas.openxmlformats.org/officeDocument/2006/relationships/chart" Target="../charts/chart21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notesSlide" Target="../notesSlides/notesSlide2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1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2.xml"/><Relationship Id="rId3" Type="http://schemas.openxmlformats.org/officeDocument/2006/relationships/tags" Target="../tags/tag124.xml"/><Relationship Id="rId7" Type="http://schemas.openxmlformats.org/officeDocument/2006/relationships/notesSlide" Target="../notesSlides/notesSlide22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26.xml"/><Relationship Id="rId4" Type="http://schemas.openxmlformats.org/officeDocument/2006/relationships/tags" Target="../tags/tag12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129.xml"/><Relationship Id="rId7" Type="http://schemas.openxmlformats.org/officeDocument/2006/relationships/chart" Target="../charts/chart23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notesSlide" Target="../notesSlides/notesSlide2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7" Type="http://schemas.openxmlformats.org/officeDocument/2006/relationships/chart" Target="../charts/chart24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6" Type="http://schemas.openxmlformats.org/officeDocument/2006/relationships/notesSlide" Target="../notesSlides/notesSlide2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7" Type="http://schemas.openxmlformats.org/officeDocument/2006/relationships/chart" Target="../charts/chart25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6" Type="http://schemas.openxmlformats.org/officeDocument/2006/relationships/notesSlide" Target="../notesSlides/notesSlide2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141.xml"/><Relationship Id="rId7" Type="http://schemas.openxmlformats.org/officeDocument/2006/relationships/chart" Target="../charts/chart26.xml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notesSlide" Target="../notesSlides/notesSlide2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45.xml"/><Relationship Id="rId7" Type="http://schemas.openxmlformats.org/officeDocument/2006/relationships/chart" Target="../charts/chart27.xml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6" Type="http://schemas.openxmlformats.org/officeDocument/2006/relationships/notesSlide" Target="../notesSlides/notesSlide2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10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chart" Target="../charts/char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149.xml"/><Relationship Id="rId7" Type="http://schemas.openxmlformats.org/officeDocument/2006/relationships/chart" Target="../charts/chart28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notesSlide" Target="../notesSlides/notesSlide2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0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153.xml"/><Relationship Id="rId7" Type="http://schemas.openxmlformats.org/officeDocument/2006/relationships/chart" Target="../charts/chart29.xml"/><Relationship Id="rId2" Type="http://schemas.openxmlformats.org/officeDocument/2006/relationships/tags" Target="../tags/tag152.xml"/><Relationship Id="rId1" Type="http://schemas.openxmlformats.org/officeDocument/2006/relationships/tags" Target="../tags/tag151.xml"/><Relationship Id="rId6" Type="http://schemas.openxmlformats.org/officeDocument/2006/relationships/notesSlide" Target="../notesSlides/notesSlide2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157.xml"/><Relationship Id="rId7" Type="http://schemas.openxmlformats.org/officeDocument/2006/relationships/chart" Target="../charts/chart30.xml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6" Type="http://schemas.openxmlformats.org/officeDocument/2006/relationships/notesSlide" Target="../notesSlides/notesSlide3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5" Type="http://schemas.openxmlformats.org/officeDocument/2006/relationships/tags" Target="../tags/tag18.xml"/><Relationship Id="rId10" Type="http://schemas.openxmlformats.org/officeDocument/2006/relationships/chart" Target="../charts/chart3.xml"/><Relationship Id="rId4" Type="http://schemas.openxmlformats.org/officeDocument/2006/relationships/tags" Target="../tags/tag17.xml"/><Relationship Id="rId9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3" Type="http://schemas.openxmlformats.org/officeDocument/2006/relationships/tags" Target="../tags/tag2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5" Type="http://schemas.openxmlformats.org/officeDocument/2006/relationships/tags" Target="../tags/tag25.xml"/><Relationship Id="rId4" Type="http://schemas.openxmlformats.org/officeDocument/2006/relationships/tags" Target="../tags/tag24.xml"/><Relationship Id="rId9" Type="http://schemas.openxmlformats.org/officeDocument/2006/relationships/chart" Target="../charts/char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.xml"/><Relationship Id="rId3" Type="http://schemas.openxmlformats.org/officeDocument/2006/relationships/tags" Target="../tags/tag29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4" Type="http://schemas.openxmlformats.org/officeDocument/2006/relationships/tags" Target="../tags/tag30.xml"/><Relationship Id="rId9" Type="http://schemas.openxmlformats.org/officeDocument/2006/relationships/chart" Target="../charts/chart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6.xml"/><Relationship Id="rId3" Type="http://schemas.openxmlformats.org/officeDocument/2006/relationships/tags" Target="../tags/tag35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5" Type="http://schemas.openxmlformats.org/officeDocument/2006/relationships/tags" Target="../tags/tag37.xml"/><Relationship Id="rId4" Type="http://schemas.openxmlformats.org/officeDocument/2006/relationships/tags" Target="../tags/tag36.xml"/><Relationship Id="rId9" Type="http://schemas.openxmlformats.org/officeDocument/2006/relationships/chart" Target="../charts/char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7.xml"/><Relationship Id="rId3" Type="http://schemas.openxmlformats.org/officeDocument/2006/relationships/tags" Target="../tags/tag41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5" Type="http://schemas.openxmlformats.org/officeDocument/2006/relationships/tags" Target="../tags/tag43.xml"/><Relationship Id="rId4" Type="http://schemas.openxmlformats.org/officeDocument/2006/relationships/tags" Target="../tags/tag42.xml"/><Relationship Id="rId9" Type="http://schemas.openxmlformats.org/officeDocument/2006/relationships/chart" Target="../charts/chart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8.xml"/><Relationship Id="rId3" Type="http://schemas.openxmlformats.org/officeDocument/2006/relationships/tags" Target="../tags/tag47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5" Type="http://schemas.openxmlformats.org/officeDocument/2006/relationships/tags" Target="../tags/tag49.xml"/><Relationship Id="rId4" Type="http://schemas.openxmlformats.org/officeDocument/2006/relationships/tags" Target="../tags/tag48.xml"/><Relationship Id="rId9" Type="http://schemas.openxmlformats.org/officeDocument/2006/relationships/chart" Target="../charts/char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 fontScale="90000"/>
          </a:bodyPr>
          <a:lstStyle/>
          <a:p>
            <a:br>
              <a:rPr lang="cs-CZ" b="1" dirty="0"/>
            </a:br>
            <a:r>
              <a:rPr lang="cs-CZ" sz="6700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905251"/>
            <a:ext cx="12191999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očet pacientů s COVID-19 hospitalizovaných na JIP</a:t>
            </a:r>
          </a:p>
        </p:txBody>
      </p:sp>
    </p:spTree>
    <p:extLst>
      <p:ext uri="{BB962C8B-B14F-4D97-AF65-F5344CB8AC3E}">
        <p14:creationId xmlns:p14="http://schemas.microsoft.com/office/powerpoint/2010/main" val="29515847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22056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álovéhradecký kraj</a:t>
            </a:r>
          </a:p>
        </p:txBody>
      </p:sp>
      <p:graphicFrame>
        <p:nvGraphicFramePr>
          <p:cNvPr id="41" name="Chart 11">
            <a:extLst>
              <a:ext uri="{FF2B5EF4-FFF2-40B4-BE49-F238E27FC236}">
                <a16:creationId xmlns:a16="http://schemas.microsoft.com/office/drawing/2014/main" id="{7F2AD4E1-7A65-46B2-90B5-F5CE5E71D60B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685952"/>
              </p:ext>
            </p:extLst>
          </p:nvPr>
        </p:nvGraphicFramePr>
        <p:xfrm>
          <a:off x="557348" y="1499009"/>
          <a:ext cx="11571197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2" name="TextBox 14">
            <a:extLst>
              <a:ext uri="{FF2B5EF4-FFF2-40B4-BE49-F238E27FC236}">
                <a16:creationId xmlns:a16="http://schemas.microsoft.com/office/drawing/2014/main" id="{108D794C-B7A2-42EE-A851-82491D3CCE0B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21B8F6F7-7776-4992-9293-49306873887C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9BE6E8FF-A06C-4BE8-B3BA-118FCD9D2F07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890749232"/>
              </p:ext>
            </p:extLst>
          </p:nvPr>
        </p:nvGraphicFramePr>
        <p:xfrm>
          <a:off x="5478458" y="716384"/>
          <a:ext cx="5405638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0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530525657"/>
                  </a:ext>
                </a:extLst>
              </a:tr>
            </a:tbl>
          </a:graphicData>
        </a:graphic>
      </p:graphicFrame>
      <p:sp>
        <p:nvSpPr>
          <p:cNvPr id="24" name="TextBox 9">
            <a:extLst>
              <a:ext uri="{FF2B5EF4-FFF2-40B4-BE49-F238E27FC236}">
                <a16:creationId xmlns:a16="http://schemas.microsoft.com/office/drawing/2014/main" id="{276AB364-6000-45C1-B97C-FA1302DE752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100679" y="2661847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BBB2FA8E-1D56-45C9-8CB3-E04434663630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8181277" y="3123512"/>
            <a:ext cx="1888984" cy="738664"/>
            <a:chOff x="10270650" y="3526984"/>
            <a:chExt cx="1888984" cy="738664"/>
          </a:xfrm>
        </p:grpSpPr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0AEE6C6F-D218-40A6-A809-6B11C03D03D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C89B4E9B-52F1-403B-96AF-B62D962E81D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100383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2"/>
            <a:ext cx="19579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ardubic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A951A147-3326-464E-96B3-0CFB64D2BCE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0088931"/>
              </p:ext>
            </p:extLst>
          </p:nvPr>
        </p:nvGraphicFramePr>
        <p:xfrm>
          <a:off x="557348" y="1499009"/>
          <a:ext cx="11571197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FE96C61C-4228-4803-9FA1-E8D9B9DC007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C5238020-2FDF-4C27-8EF7-785ECC94F325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sp>
        <p:nvSpPr>
          <p:cNvPr id="15" name="TextBox 9">
            <a:extLst>
              <a:ext uri="{FF2B5EF4-FFF2-40B4-BE49-F238E27FC236}">
                <a16:creationId xmlns:a16="http://schemas.microsoft.com/office/drawing/2014/main" id="{267BF24B-7757-44E5-9905-4A8A1716E91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997917" y="261619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06904B0C-7102-4B52-92A3-E4C0FFBD5BBB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078515" y="3077861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2C870D4-55BC-4B6C-BAF0-8B8DC1E49AC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3ADD8304-D815-43BC-86B4-5C8651D7A1F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720E0A0C-1450-4E75-BED1-1EE23E0BB8A4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129223033"/>
              </p:ext>
            </p:extLst>
          </p:nvPr>
        </p:nvGraphicFramePr>
        <p:xfrm>
          <a:off x="5316578" y="745176"/>
          <a:ext cx="5405638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.0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5605412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41552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5388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aj Vysočina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C8AC455E-664D-4EAE-A854-2B7A9524CCC4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3568147"/>
              </p:ext>
            </p:extLst>
          </p:nvPr>
        </p:nvGraphicFramePr>
        <p:xfrm>
          <a:off x="557349" y="1499009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CC56B08B-E137-405B-85F8-5B318D60AB3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00579F26-D516-4B95-89FE-689248C58154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C6F4F770-175B-4BB6-9703-04D304AE2F33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14633546"/>
              </p:ext>
            </p:extLst>
          </p:nvPr>
        </p:nvGraphicFramePr>
        <p:xfrm>
          <a:off x="5478458" y="707790"/>
          <a:ext cx="5405638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.0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7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3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593349181"/>
                  </a:ext>
                </a:extLst>
              </a:tr>
            </a:tbl>
          </a:graphicData>
        </a:graphic>
      </p:graphicFrame>
      <p:sp>
        <p:nvSpPr>
          <p:cNvPr id="14" name="TextBox 9">
            <a:extLst>
              <a:ext uri="{FF2B5EF4-FFF2-40B4-BE49-F238E27FC236}">
                <a16:creationId xmlns:a16="http://schemas.microsoft.com/office/drawing/2014/main" id="{5E9F29DC-2C7A-4138-8DA3-4B099D76AE0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100679" y="2661847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D072B4A3-9564-4594-8802-5D0ADE7F23C7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8181277" y="3123512"/>
            <a:ext cx="1888984" cy="738664"/>
            <a:chOff x="10270650" y="3526984"/>
            <a:chExt cx="1888984" cy="738664"/>
          </a:xfrm>
        </p:grpSpPr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8E24EB42-537E-4230-9C4D-9C4819863A1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2" name="TextovéPole 28">
              <a:extLst>
                <a:ext uri="{FF2B5EF4-FFF2-40B4-BE49-F238E27FC236}">
                  <a16:creationId xmlns:a16="http://schemas.microsoft.com/office/drawing/2014/main" id="{4D3935B4-7F3C-4189-B97E-29B65E8573C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003364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938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morav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3FB8C91E-F901-4052-B68C-A2A4C499FF7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5937828"/>
              </p:ext>
            </p:extLst>
          </p:nvPr>
        </p:nvGraphicFramePr>
        <p:xfrm>
          <a:off x="557349" y="1499008"/>
          <a:ext cx="11482496" cy="50512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67279542-D530-43E8-AEF3-8A836E084CF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76B79F1A-09A2-499B-9A91-14977CC726A4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4B006931-FF69-458A-9E93-4895564CC03A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49393079"/>
              </p:ext>
            </p:extLst>
          </p:nvPr>
        </p:nvGraphicFramePr>
        <p:xfrm>
          <a:off x="5330890" y="685175"/>
          <a:ext cx="5405638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7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7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.7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8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.6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9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397279594"/>
                  </a:ext>
                </a:extLst>
              </a:tr>
            </a:tbl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B1724CC7-F4BD-4E9D-816D-721D0B973083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100679" y="2661847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68B88BB0-F00A-49F8-9024-290B0CF14100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8181277" y="3123512"/>
            <a:ext cx="1888984" cy="738664"/>
            <a:chOff x="10270650" y="3526984"/>
            <a:chExt cx="1888984" cy="738664"/>
          </a:xfrm>
        </p:grpSpPr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36820269-46EA-44D0-A517-1537F1B066B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2" name="TextovéPole 28">
              <a:extLst>
                <a:ext uri="{FF2B5EF4-FFF2-40B4-BE49-F238E27FC236}">
                  <a16:creationId xmlns:a16="http://schemas.microsoft.com/office/drawing/2014/main" id="{3C532BD8-B944-4270-8ECB-93A197D1F67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0314611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900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Olomoucký kraj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3443ED8B-A64F-4382-B01C-E8F1B90F46F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8452162"/>
              </p:ext>
            </p:extLst>
          </p:nvPr>
        </p:nvGraphicFramePr>
        <p:xfrm>
          <a:off x="557348" y="1499009"/>
          <a:ext cx="11571197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0554ECB3-65E4-4F5A-82F7-DE172513E7F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38626477-7AE3-41C5-A0ED-8C343E9FA275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947D84B-2B67-4310-8032-2E70655C8BBE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280119965"/>
              </p:ext>
            </p:extLst>
          </p:nvPr>
        </p:nvGraphicFramePr>
        <p:xfrm>
          <a:off x="5478458" y="725849"/>
          <a:ext cx="5405638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.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.6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.7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345890059"/>
                  </a:ext>
                </a:extLst>
              </a:tr>
            </a:tbl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11654E66-734F-48EF-AFF8-B4E3420411E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100679" y="2661847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32BDB72A-52A6-4543-9456-79516C1787ED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8181277" y="3123512"/>
            <a:ext cx="1888984" cy="738664"/>
            <a:chOff x="10270650" y="3526984"/>
            <a:chExt cx="1888984" cy="738664"/>
          </a:xfrm>
        </p:grpSpPr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2A352AE8-8DB9-4B06-B806-F96857D4AD4C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2" name="TextovéPole 28">
              <a:extLst>
                <a:ext uri="{FF2B5EF4-FFF2-40B4-BE49-F238E27FC236}">
                  <a16:creationId xmlns:a16="http://schemas.microsoft.com/office/drawing/2014/main" id="{5FD27D43-E6EC-4A92-9BE2-6B624E51B4E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6415978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7484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Zlínský kraj 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520BB09D-3596-4C80-9CC7-DF04A1B24C3C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594417"/>
              </p:ext>
            </p:extLst>
          </p:nvPr>
        </p:nvGraphicFramePr>
        <p:xfrm>
          <a:off x="557349" y="1499009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A391BBAD-A914-4721-9D45-7BA579964FB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68328EE0-0FD7-4A74-A962-1445D43705B7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DF113E2-FBD1-4C9C-935B-16376BE28AB8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82671564"/>
              </p:ext>
            </p:extLst>
          </p:nvPr>
        </p:nvGraphicFramePr>
        <p:xfrm>
          <a:off x="5478458" y="750405"/>
          <a:ext cx="5405638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.7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7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203324319"/>
                  </a:ext>
                </a:extLst>
              </a:tr>
            </a:tbl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625ED909-32E1-4591-A63E-B8DF1EB501B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100679" y="2661847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91712FFA-3CA0-4DB4-ACFC-5E496C60906F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8181277" y="3123512"/>
            <a:ext cx="1888984" cy="738664"/>
            <a:chOff x="10270650" y="3526984"/>
            <a:chExt cx="1888984" cy="738664"/>
          </a:xfrm>
        </p:grpSpPr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76C458BB-D9D5-4165-9EAD-0C1C1733F5F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2" name="TextovéPole 28">
              <a:extLst>
                <a:ext uri="{FF2B5EF4-FFF2-40B4-BE49-F238E27FC236}">
                  <a16:creationId xmlns:a16="http://schemas.microsoft.com/office/drawing/2014/main" id="{A52D8D9E-5780-455B-BAA3-03266B23FF6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2185400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2319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Moravskoslezský kraj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25E0FC16-29C7-4E91-9F68-34B77A9284BF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020927"/>
              </p:ext>
            </p:extLst>
          </p:nvPr>
        </p:nvGraphicFramePr>
        <p:xfrm>
          <a:off x="557348" y="1499009"/>
          <a:ext cx="11571197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7B072D3B-0CF3-42BC-8EF2-C44DCC70325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3EB4ED20-614B-41F8-A146-F6E5F2C22BF3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56D07F5-AC54-4855-9BEA-4AC169F36034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0559269"/>
              </p:ext>
            </p:extLst>
          </p:nvPr>
        </p:nvGraphicFramePr>
        <p:xfrm>
          <a:off x="5397860" y="941026"/>
          <a:ext cx="5405638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.5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1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.3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.9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4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.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135861912"/>
                  </a:ext>
                </a:extLst>
              </a:tr>
            </a:tbl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CA535A0C-28FA-4BE0-BDA6-0D2135AD191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100679" y="2661847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252ED467-03D3-4C0F-80C2-843A3D364895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8181277" y="3123512"/>
            <a:ext cx="1888984" cy="738664"/>
            <a:chOff x="10270650" y="3526984"/>
            <a:chExt cx="1888984" cy="738664"/>
          </a:xfrm>
        </p:grpSpPr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9DE924DF-8C16-4235-A155-055384CD422C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2" name="TextovéPole 28">
              <a:extLst>
                <a:ext uri="{FF2B5EF4-FFF2-40B4-BE49-F238E27FC236}">
                  <a16:creationId xmlns:a16="http://schemas.microsoft.com/office/drawing/2014/main" id="{AA5801E8-BB5D-4262-B9E6-1FD3F23E850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5918490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4" y="3905251"/>
            <a:ext cx="11553825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Kumulativní počet nových případů vyžadujících intenzivní péči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14810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Česká republika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70A36FB4-FE08-4AFE-98E4-D07769B07FB2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4806678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839C497B-633E-4701-87EE-F7E00F9A171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5B5FAF48-1DB4-4C1A-B49C-64B836075C5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3" name="Tabulka 2">
            <a:extLst>
              <a:ext uri="{FF2B5EF4-FFF2-40B4-BE49-F238E27FC236}">
                <a16:creationId xmlns:a16="http://schemas.microsoft.com/office/drawing/2014/main" id="{F40779C7-55CF-4D95-8B3D-955F8B6CDF83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90695058"/>
              </p:ext>
            </p:extLst>
          </p:nvPr>
        </p:nvGraphicFramePr>
        <p:xfrm>
          <a:off x="1140643" y="1248634"/>
          <a:ext cx="11051357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51357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4" name="TextBox 9">
            <a:extLst>
              <a:ext uri="{FF2B5EF4-FFF2-40B4-BE49-F238E27FC236}">
                <a16:creationId xmlns:a16="http://schemas.microsoft.com/office/drawing/2014/main" id="{BC0FE483-D2FF-4601-AE1E-7801F36BDD2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39FFA050-AE50-48BA-8781-88C55879D8FA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722633C5-FE54-4D31-BFB9-0B31A80F806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1" name="TextovéPole 28">
              <a:extLst>
                <a:ext uri="{FF2B5EF4-FFF2-40B4-BE49-F238E27FC236}">
                  <a16:creationId xmlns:a16="http://schemas.microsoft.com/office/drawing/2014/main" id="{5920D91D-329D-4A5B-BF95-B94611B48C9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2932137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Hl. m. Praha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C9C59CA4-CCB2-45C8-8EF7-274A356B6F5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6828881"/>
              </p:ext>
            </p:extLst>
          </p:nvPr>
        </p:nvGraphicFramePr>
        <p:xfrm>
          <a:off x="386622" y="1499009"/>
          <a:ext cx="11684392" cy="49677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BDA760EC-F895-4EB2-9449-61566DFAEA1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61A21E3-1BE0-4CB6-9DB8-6CC1EB48386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2D2A509B-9A2E-4377-BDAF-3CEB8F55990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4848789"/>
              </p:ext>
            </p:extLst>
          </p:nvPr>
        </p:nvGraphicFramePr>
        <p:xfrm>
          <a:off x="1143451" y="1246327"/>
          <a:ext cx="10661927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661927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BAA894F6-33EC-4AE5-BAE3-1C786F5D40A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92666678-AA3D-428D-8942-BA07D81AB3FF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02EE7B94-DB2F-424B-B03D-33DFCFACE97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65F745C2-A92C-47CB-81BC-1622E2F6201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362821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Chart 11">
            <a:extLst>
              <a:ext uri="{FF2B5EF4-FFF2-40B4-BE49-F238E27FC236}">
                <a16:creationId xmlns:a16="http://schemas.microsoft.com/office/drawing/2014/main" id="{FFB92E0F-0B52-417A-BB34-405865A92B2E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6691133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Box 14">
            <a:extLst>
              <a:ext uri="{FF2B5EF4-FFF2-40B4-BE49-F238E27FC236}">
                <a16:creationId xmlns:a16="http://schemas.microsoft.com/office/drawing/2014/main" id="{4231A2FA-B47D-4C3D-8DDD-0F1ACD6C839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 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17" name="TextBox 31">
            <a:extLst>
              <a:ext uri="{FF2B5EF4-FFF2-40B4-BE49-F238E27FC236}">
                <a16:creationId xmlns:a16="http://schemas.microsoft.com/office/drawing/2014/main" id="{EFD3DBCC-0951-4CCC-9F48-5D93B20D724A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8971" y="1003173"/>
            <a:ext cx="17293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Česká republika</a:t>
            </a:r>
          </a:p>
        </p:txBody>
      </p:sp>
      <p:graphicFrame>
        <p:nvGraphicFramePr>
          <p:cNvPr id="15" name="Tabulka 6">
            <a:extLst>
              <a:ext uri="{FF2B5EF4-FFF2-40B4-BE49-F238E27FC236}">
                <a16:creationId xmlns:a16="http://schemas.microsoft.com/office/drawing/2014/main" id="{BF70AADE-3718-4349-8719-3F10E16D0021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326292144"/>
              </p:ext>
            </p:extLst>
          </p:nvPr>
        </p:nvGraphicFramePr>
        <p:xfrm>
          <a:off x="5564138" y="917729"/>
          <a:ext cx="5405638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.2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5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7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.9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2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.1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.9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4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.2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79148053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9619BC65-BFA9-415E-8694-9B04CCF3082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100679" y="2661847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4" name="Skupina 13">
            <a:extLst>
              <a:ext uri="{FF2B5EF4-FFF2-40B4-BE49-F238E27FC236}">
                <a16:creationId xmlns:a16="http://schemas.microsoft.com/office/drawing/2014/main" id="{7F426876-9171-4DEB-B473-5EB3C520A1CA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8181277" y="3123512"/>
            <a:ext cx="1888984" cy="738664"/>
            <a:chOff x="10270650" y="3526984"/>
            <a:chExt cx="1888984" cy="738664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7FAF3CC0-917A-416B-A696-FA8FAD35180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8C750489-D8CA-4176-A3A7-25BE133EE15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2662261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Středočeský kraj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622982BC-9960-45A6-95D4-125E705B4EC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1196252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3F43502F-5763-4242-9402-FF04E391AA3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2A6EF79-7E82-4907-87AE-B81926A814E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A75299BC-9B40-4863-8148-57196A8912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3518524"/>
              </p:ext>
            </p:extLst>
          </p:nvPr>
        </p:nvGraphicFramePr>
        <p:xfrm>
          <a:off x="1139575" y="1245707"/>
          <a:ext cx="10382596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382596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484A7564-3825-4945-AC08-DE3F11E19E4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DB9336ED-806E-443D-841B-5C4916FF77A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26348E8E-80B9-42D9-8F4F-F95561BECD5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F9B21A75-B226-4D50-9CC7-44A731191D9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64893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F4F2A46-710C-4596-8DBC-EC836CA82E06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4432622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český kraj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9DB4CD35-6018-432F-8B4B-D04D1A69AD9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BF711CEA-4093-4E28-919B-0DFA7ABAB8D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0F5BD9E3-590B-47FD-96DB-6687F7E86AC1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3641238"/>
              </p:ext>
            </p:extLst>
          </p:nvPr>
        </p:nvGraphicFramePr>
        <p:xfrm>
          <a:off x="1136073" y="1246349"/>
          <a:ext cx="11006051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06051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1B359BF1-0789-43FF-BE52-25CE20088D3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A04C51E-4713-4DDC-854E-17DA45FE0626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0B9186E8-D62B-4BC9-B85F-F56AE45ABF4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2643D11C-BCB9-4A55-9645-35216FAC0C5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9421246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lzeňský kraj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5680DFED-CEEB-44D9-819E-85103FD35231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9276903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D32EAEDF-8C78-49A3-841A-560A5CCEC40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1525456C-C187-4441-A666-FD9C0C2E508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69DAE4D5-515F-4808-9527-F6B9896FD2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1250122"/>
              </p:ext>
            </p:extLst>
          </p:nvPr>
        </p:nvGraphicFramePr>
        <p:xfrm>
          <a:off x="1136072" y="1247338"/>
          <a:ext cx="1103098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3098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27BADAF1-56D2-4F75-B536-C73746F6F59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CC1E18D9-68A1-4C9D-8EB1-84C1FF20427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AB1CFD9B-5695-48DD-9BA9-5846A8E3E04D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2" name="TextovéPole 28">
              <a:extLst>
                <a:ext uri="{FF2B5EF4-FFF2-40B4-BE49-F238E27FC236}">
                  <a16:creationId xmlns:a16="http://schemas.microsoft.com/office/drawing/2014/main" id="{CAFF55FF-11FD-43AB-A315-C580F031BB5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7320730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arlovars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EB37F279-1532-4774-A92F-BDDD75364CBB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3129559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EF093F63-EB53-4CB2-86D9-822681F0B0D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7831C690-9441-4BBE-AF06-8B44035BA96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5" name="Tabulka 2">
            <a:extLst>
              <a:ext uri="{FF2B5EF4-FFF2-40B4-BE49-F238E27FC236}">
                <a16:creationId xmlns:a16="http://schemas.microsoft.com/office/drawing/2014/main" id="{F3DA1B43-0174-4109-A30D-1E377CDC36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7404323"/>
              </p:ext>
            </p:extLst>
          </p:nvPr>
        </p:nvGraphicFramePr>
        <p:xfrm>
          <a:off x="1136075" y="1245153"/>
          <a:ext cx="11055926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55926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68EF0973-71B1-41D8-B2EF-04DD98F0BD1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2C6FACF9-3527-4830-9278-DD171FC2DD0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4" name="Obdélník 13">
              <a:extLst>
                <a:ext uri="{FF2B5EF4-FFF2-40B4-BE49-F238E27FC236}">
                  <a16:creationId xmlns:a16="http://schemas.microsoft.com/office/drawing/2014/main" id="{DA2B17D8-6567-4EA1-8C0D-59D1D09A838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D4793853-CD28-4C38-A802-E9BEE3516FC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8155249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Ústec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9CABE9A0-07EB-414E-9A5C-5843859A8BD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2761449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E3B52C27-83AC-4922-A74A-B91AF3474F5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93ECF6C-DC0F-4C03-8F13-05B155CE986D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47D11ECF-23AC-40AC-B2DD-80631FAEE0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120423"/>
              </p:ext>
            </p:extLst>
          </p:nvPr>
        </p:nvGraphicFramePr>
        <p:xfrm>
          <a:off x="1137428" y="1244044"/>
          <a:ext cx="1084810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84810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B86E9633-17F0-47B5-B3D8-9D66E4E2210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51B54534-0A8D-4206-8304-15307235A00A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878525AA-1F2A-4E0B-96A8-646E07CCD50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2A914679-FAF3-477B-BF90-61EC3E50E79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581664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11">
            <a:extLst>
              <a:ext uri="{FF2B5EF4-FFF2-40B4-BE49-F238E27FC236}">
                <a16:creationId xmlns:a16="http://schemas.microsoft.com/office/drawing/2014/main" id="{C6C1DAFA-1C3B-4345-98C6-89530C5A52ED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7216501"/>
              </p:ext>
            </p:extLst>
          </p:nvPr>
        </p:nvGraphicFramePr>
        <p:xfrm>
          <a:off x="386622" y="1499009"/>
          <a:ext cx="11684392" cy="49677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Liberecký kraj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57A7A56A-2B50-4B64-A117-82BC38234D0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6" name="TextBox 31">
            <a:extLst>
              <a:ext uri="{FF2B5EF4-FFF2-40B4-BE49-F238E27FC236}">
                <a16:creationId xmlns:a16="http://schemas.microsoft.com/office/drawing/2014/main" id="{DD364A02-98E9-454A-9694-BC934420E02B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A67D7484-75A0-4628-8EE7-3579672353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1471615"/>
              </p:ext>
            </p:extLst>
          </p:nvPr>
        </p:nvGraphicFramePr>
        <p:xfrm>
          <a:off x="1138846" y="1246350"/>
          <a:ext cx="1093537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93537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7CBC750D-B92D-4B0F-AFDC-D248C31C65B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8" name="Skupina 17">
            <a:extLst>
              <a:ext uri="{FF2B5EF4-FFF2-40B4-BE49-F238E27FC236}">
                <a16:creationId xmlns:a16="http://schemas.microsoft.com/office/drawing/2014/main" id="{C570703B-E80C-4FA0-A8C3-170CE6AB79B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C4BA0014-236D-4347-B07C-08C2C491F6A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85782C25-8E89-4538-99EF-A911DEE0397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1210065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álovéhradecký kraj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B373A2D9-CB20-4625-AFA3-6EFE6E03727A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5723600"/>
              </p:ext>
            </p:extLst>
          </p:nvPr>
        </p:nvGraphicFramePr>
        <p:xfrm>
          <a:off x="386622" y="1499009"/>
          <a:ext cx="11684392" cy="49677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2" name="TextBox 14">
            <a:extLst>
              <a:ext uri="{FF2B5EF4-FFF2-40B4-BE49-F238E27FC236}">
                <a16:creationId xmlns:a16="http://schemas.microsoft.com/office/drawing/2014/main" id="{6993EBE4-E182-4FE5-9F1F-99FAB99B5E6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3" name="TextBox 31">
            <a:extLst>
              <a:ext uri="{FF2B5EF4-FFF2-40B4-BE49-F238E27FC236}">
                <a16:creationId xmlns:a16="http://schemas.microsoft.com/office/drawing/2014/main" id="{44BE85AB-D9DA-4AB2-AE1D-63344732530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0B44B421-F2AA-428A-A38C-95DBCF1C37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2536548"/>
              </p:ext>
            </p:extLst>
          </p:nvPr>
        </p:nvGraphicFramePr>
        <p:xfrm>
          <a:off x="1138844" y="1248908"/>
          <a:ext cx="11144225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442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71AB014B-D4C7-408B-A0BC-08A7E9B6409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DFA78BA3-192B-48AC-B08B-212BE4482BF9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733252C6-0347-4B7A-9376-843AEE5E25A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F8AEC717-7DB0-4C6A-B33E-91F7A57335C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7396998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ardubic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7D72507F-24E9-44A5-A543-16C5E613BE6A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5552149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CD799857-8505-4A07-8D9E-75C4740871B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361DC87A-895B-42C1-AE75-B5306A3E46F9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0074311A-DF90-42E6-AAAA-4986A24429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3414356"/>
              </p:ext>
            </p:extLst>
          </p:nvPr>
        </p:nvGraphicFramePr>
        <p:xfrm>
          <a:off x="1134670" y="1241453"/>
          <a:ext cx="10773296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773296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250B9B80-BEA5-40BB-AF9C-F22B1DC34A9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B575BEFF-B635-4A8C-BB9D-AD179ECB74E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EB6292A1-7029-407E-8961-8A36016995D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CCA51CE4-8425-44E7-BDC0-6AF6541EEC2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7053198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aj Vysočina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72A27B3A-69DD-4EC4-907B-B50B9476D4C0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7958860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6F0E3D64-30C9-43AC-BBE0-10E839AA6CA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401FBD53-3308-4B8C-A0A5-0C7CB2260014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5" name="Tabulka 2">
            <a:extLst>
              <a:ext uri="{FF2B5EF4-FFF2-40B4-BE49-F238E27FC236}">
                <a16:creationId xmlns:a16="http://schemas.microsoft.com/office/drawing/2014/main" id="{395D28D0-8E0A-4BEE-9E09-613DF1AAFBE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4676223"/>
              </p:ext>
            </p:extLst>
          </p:nvPr>
        </p:nvGraphicFramePr>
        <p:xfrm>
          <a:off x="1137295" y="1245596"/>
          <a:ext cx="1078173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78173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EB1C29F6-6AF1-41B7-BC72-CF54AF18A11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A28F9E0A-B536-47CC-82CF-061B3277A56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4" name="Obdélník 13">
              <a:extLst>
                <a:ext uri="{FF2B5EF4-FFF2-40B4-BE49-F238E27FC236}">
                  <a16:creationId xmlns:a16="http://schemas.microsoft.com/office/drawing/2014/main" id="{2A705E9B-E3E0-4BF5-B484-1AA8A902F2DC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5D7AB4A5-98AF-4DEE-9D25-00EA9217213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1260171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moravs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6ACE0A4E-FE76-407C-89CF-A4E84384964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4046303"/>
              </p:ext>
            </p:extLst>
          </p:nvPr>
        </p:nvGraphicFramePr>
        <p:xfrm>
          <a:off x="346430" y="1499009"/>
          <a:ext cx="1158473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DF5E95CC-5E75-4004-9597-41D2CBF6B5C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68DDE47-1557-4C42-8EDD-06CB651B62F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BD0C218B-4FB1-4E44-B9EB-0258F04795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8393716"/>
              </p:ext>
            </p:extLst>
          </p:nvPr>
        </p:nvGraphicFramePr>
        <p:xfrm>
          <a:off x="1136492" y="1249060"/>
          <a:ext cx="1086566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86566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C09258C4-89AA-469F-9147-0302C25158B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DC47B191-ADD8-4912-8768-DBAC7D0CD11D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F8123860-2CCE-489E-804B-1E41E92B1EE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AD48C67F-DC5C-49D9-A007-B878DA591F5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693288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Chart 11">
            <a:extLst>
              <a:ext uri="{FF2B5EF4-FFF2-40B4-BE49-F238E27FC236}">
                <a16:creationId xmlns:a16="http://schemas.microsoft.com/office/drawing/2014/main" id="{F7423A05-3E39-4548-B885-B1B952956F8E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2954535"/>
              </p:ext>
            </p:extLst>
          </p:nvPr>
        </p:nvGraphicFramePr>
        <p:xfrm>
          <a:off x="557348" y="1499009"/>
          <a:ext cx="11472975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5" name="TextBox 14">
            <a:extLst>
              <a:ext uri="{FF2B5EF4-FFF2-40B4-BE49-F238E27FC236}">
                <a16:creationId xmlns:a16="http://schemas.microsoft.com/office/drawing/2014/main" id="{6473A717-DB52-4496-9C7D-D8FF85378C8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6" name="TextBox 31">
            <a:extLst>
              <a:ext uri="{FF2B5EF4-FFF2-40B4-BE49-F238E27FC236}">
                <a16:creationId xmlns:a16="http://schemas.microsoft.com/office/drawing/2014/main" id="{476F7103-0D40-4C08-BD67-8CF84B5D55C9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8971" y="1003173"/>
            <a:ext cx="1424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Hl. m. Praha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80411313-CC47-40C2-A9B7-AD00E01891ED}"/>
              </a:ext>
            </a:extLst>
          </p:cNvPr>
          <p:cNvSpPr/>
          <p:nvPr/>
        </p:nvSpPr>
        <p:spPr>
          <a:xfrm>
            <a:off x="5665433" y="3244334"/>
            <a:ext cx="8611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ctr"/>
            <a:r>
              <a:rPr lang="cs-CZ" b="1" dirty="0">
                <a:solidFill>
                  <a:schemeClr val="bg1"/>
                </a:solidFill>
                <a:latin typeface="Calibri" panose="020F0502020204030204" pitchFamily="34" charset="0"/>
              </a:rPr>
              <a:t>Měsíce</a:t>
            </a:r>
          </a:p>
        </p:txBody>
      </p:sp>
      <p:graphicFrame>
        <p:nvGraphicFramePr>
          <p:cNvPr id="18" name="Tabulka 6">
            <a:extLst>
              <a:ext uri="{FF2B5EF4-FFF2-40B4-BE49-F238E27FC236}">
                <a16:creationId xmlns:a16="http://schemas.microsoft.com/office/drawing/2014/main" id="{C2BFF297-6E1E-4E2A-AE50-40481827656F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21583142"/>
              </p:ext>
            </p:extLst>
          </p:nvPr>
        </p:nvGraphicFramePr>
        <p:xfrm>
          <a:off x="5362073" y="661137"/>
          <a:ext cx="5405638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8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3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3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.5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.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.4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.8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1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98747302"/>
                  </a:ext>
                </a:extLst>
              </a:tr>
            </a:tbl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365E9DF3-BF8F-4149-83B2-CD62466D5A5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398624" y="2674061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306CCB35-3FB6-477E-B410-0E6C5FF5872D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9222" y="3135726"/>
            <a:ext cx="1888984" cy="738664"/>
            <a:chOff x="10270650" y="3526984"/>
            <a:chExt cx="1888984" cy="738664"/>
          </a:xfrm>
        </p:grpSpPr>
        <p:sp>
          <p:nvSpPr>
            <p:cNvPr id="22" name="Obdélník 21">
              <a:extLst>
                <a:ext uri="{FF2B5EF4-FFF2-40B4-BE49-F238E27FC236}">
                  <a16:creationId xmlns:a16="http://schemas.microsoft.com/office/drawing/2014/main" id="{AE2847E4-8C00-4EA5-856B-A974BE3C363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6AEFD324-8D1B-4C2B-8C03-93FBEEA4866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3895512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Olomouc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013F39F8-0A8A-478C-8473-2D937502A11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329783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A87EE37-D3EB-4503-9B65-6A2CEC6CE31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CEFE8C2-8CA5-402C-80E3-AA873722D8D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C7419F56-A053-4B02-87F1-54DD09EBD2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7622736"/>
              </p:ext>
            </p:extLst>
          </p:nvPr>
        </p:nvGraphicFramePr>
        <p:xfrm>
          <a:off x="1134843" y="1247339"/>
          <a:ext cx="1130530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30530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89C705EA-210B-489E-B949-0A6B3DFC628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35501C23-CB95-4E91-90C8-42E9B0A1873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8ACEBDBE-B227-405A-AA33-1377FE2EA73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1" name="TextovéPole 28">
              <a:extLst>
                <a:ext uri="{FF2B5EF4-FFF2-40B4-BE49-F238E27FC236}">
                  <a16:creationId xmlns:a16="http://schemas.microsoft.com/office/drawing/2014/main" id="{160C770A-05C1-4BDD-9BD1-3C85623A2C0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4828304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líns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18527B39-056D-46D4-93E7-B49E0B1B0184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3906358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519D2141-9299-4B5B-8218-0753BE2C7A2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8FF0C132-90A7-44A4-BD26-DADE5234B93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890C780E-2510-4969-8574-C0C315112A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6852067"/>
              </p:ext>
            </p:extLst>
          </p:nvPr>
        </p:nvGraphicFramePr>
        <p:xfrm>
          <a:off x="1130531" y="1245256"/>
          <a:ext cx="10598728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598728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06F7D53A-3101-4FC3-925D-1956E2BF331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792057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B536981-364F-4123-B908-676080753A3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253722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A55A6A1C-17C0-431C-985E-182C9B5A666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30D80F93-5504-4940-B26A-F81DF91D8C1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3110619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Moravskoslezs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27614529-58E6-45E7-ADD5-8E473C1EDA15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6810474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5FFB0AB-60CA-4004-ACFA-199B952C55F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53390C9E-CDAE-437E-98AC-C02AE808006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85168065-86A3-446F-A93F-44B158EA74A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6923723"/>
              </p:ext>
            </p:extLst>
          </p:nvPr>
        </p:nvGraphicFramePr>
        <p:xfrm>
          <a:off x="1130532" y="1243947"/>
          <a:ext cx="10994966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994966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23EE8780-E369-4D1A-A3B8-BA941B92B99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CE609EBA-D951-467A-BCB8-EC0C1E2B4B6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0CCD9DEB-DE5E-4C73-AE8F-7A25431A3FA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B488E53C-2399-49CC-AC04-9F29894F502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070177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>
            <p:custDataLst>
              <p:tags r:id="rId1"/>
            </p:custDataLst>
          </p:nvPr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08971" y="1003173"/>
            <a:ext cx="18246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Středoče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678D999-1850-49B0-96DA-3614EDCFCD08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85978176"/>
              </p:ext>
            </p:extLst>
          </p:nvPr>
        </p:nvGraphicFramePr>
        <p:xfrm>
          <a:off x="557349" y="1499009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757BA669-242E-4DC1-8D43-543E48FF59D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9DDC6401-D3EE-4590-9341-AA2762F8D52E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sp>
        <p:nvSpPr>
          <p:cNvPr id="15" name="TextBox 9">
            <a:extLst>
              <a:ext uri="{FF2B5EF4-FFF2-40B4-BE49-F238E27FC236}">
                <a16:creationId xmlns:a16="http://schemas.microsoft.com/office/drawing/2014/main" id="{82BEC5CA-14C9-4DA8-8230-0C0A183908C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470910" y="2865377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55005216-58C4-488A-9104-F3D0668892C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0910" y="3327042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78BBF08-4968-41F4-8A34-D02944AD870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503356C9-A0CF-4C0E-BA68-14AE1308A99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2B1AAA7C-4556-4EDE-ADC3-79A5C7A23EEF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176661276"/>
              </p:ext>
            </p:extLst>
          </p:nvPr>
        </p:nvGraphicFramePr>
        <p:xfrm>
          <a:off x="5336213" y="742700"/>
          <a:ext cx="5405638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.9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.5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1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7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.2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7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.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6962622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36872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6531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če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2A04911D-CACC-40E9-B7F3-B4ABECDC1D3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1603071"/>
              </p:ext>
            </p:extLst>
          </p:nvPr>
        </p:nvGraphicFramePr>
        <p:xfrm>
          <a:off x="557349" y="1499009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A21B873F-EB74-4E61-B342-7919FA155A9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329E564-1414-431B-90EB-841146634A50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3CC3F2A4-8A7A-44E2-A19E-F48017118BCF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78536514"/>
              </p:ext>
            </p:extLst>
          </p:nvPr>
        </p:nvGraphicFramePr>
        <p:xfrm>
          <a:off x="5438171" y="716384"/>
          <a:ext cx="5405638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3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.8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3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934031355"/>
                  </a:ext>
                </a:extLst>
              </a:tr>
            </a:tbl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3C5F272A-8E6E-48F5-9A06-583EC47B077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556566" y="3146062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09CF0033-E660-45FB-9198-09F5F29AC597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662102" y="3618063"/>
            <a:ext cx="1888984" cy="738664"/>
            <a:chOff x="10270650" y="3526984"/>
            <a:chExt cx="1888984" cy="738664"/>
          </a:xfrm>
        </p:grpSpPr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D1FC0F75-7513-4988-8067-2FEBFA84CFA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2" name="TextovéPole 28">
              <a:extLst>
                <a:ext uri="{FF2B5EF4-FFF2-40B4-BE49-F238E27FC236}">
                  <a16:creationId xmlns:a16="http://schemas.microsoft.com/office/drawing/2014/main" id="{CFDFD735-3B53-4481-890A-77915E4E062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842723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519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lzeň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AACA530-A92A-4FFD-A613-B409B0ECF14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0334380"/>
              </p:ext>
            </p:extLst>
          </p:nvPr>
        </p:nvGraphicFramePr>
        <p:xfrm>
          <a:off x="557349" y="1499009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5B83CD47-3A18-420B-8D2A-961B32A3F3D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469890D3-5EED-4FCC-81B2-4F1C6F13F838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21ECB072-70DB-4CEF-A583-1C50B56237CB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93465310"/>
              </p:ext>
            </p:extLst>
          </p:nvPr>
        </p:nvGraphicFramePr>
        <p:xfrm>
          <a:off x="6569516" y="912847"/>
          <a:ext cx="5405638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9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.4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7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984973765"/>
                  </a:ext>
                </a:extLst>
              </a:tr>
            </a:tbl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2BB9B4E6-4ACB-473C-934F-5A4EFC1103F3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398624" y="2674061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B6B42004-BA1E-4E26-ACBD-C7CD0BA66EB7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9222" y="3135726"/>
            <a:ext cx="1888984" cy="738664"/>
            <a:chOff x="10270650" y="3526984"/>
            <a:chExt cx="1888984" cy="738664"/>
          </a:xfrm>
        </p:grpSpPr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5C0A46C9-9933-4C22-8E7E-766ACC6FC48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2" name="TextovéPole 28">
              <a:extLst>
                <a:ext uri="{FF2B5EF4-FFF2-40B4-BE49-F238E27FC236}">
                  <a16:creationId xmlns:a16="http://schemas.microsoft.com/office/drawing/2014/main" id="{3E9CA8E9-780A-4D5E-B9DE-8D3ABCE4A1A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888857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805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arlovar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7BCFCF7-3C31-4884-9ECD-6A201A4EEDA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5388849"/>
              </p:ext>
            </p:extLst>
          </p:nvPr>
        </p:nvGraphicFramePr>
        <p:xfrm>
          <a:off x="557349" y="1499009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1FB581D9-85E1-4EB1-8A0C-2560641D406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0385BA72-9716-4C6D-8344-7F4D15AC2248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07944B5-8CD0-4016-A40F-FA63B771D97A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604764577"/>
              </p:ext>
            </p:extLst>
          </p:nvPr>
        </p:nvGraphicFramePr>
        <p:xfrm>
          <a:off x="5421851" y="716384"/>
          <a:ext cx="5405638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124627355"/>
                  </a:ext>
                </a:extLst>
              </a:tr>
            </a:tbl>
          </a:graphicData>
        </a:graphic>
      </p:graphicFrame>
      <p:sp>
        <p:nvSpPr>
          <p:cNvPr id="14" name="TextBox 9">
            <a:extLst>
              <a:ext uri="{FF2B5EF4-FFF2-40B4-BE49-F238E27FC236}">
                <a16:creationId xmlns:a16="http://schemas.microsoft.com/office/drawing/2014/main" id="{1047C720-E799-4872-8FE1-E82B6EDBCA9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398624" y="2674061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2ECE51DF-6B05-4B44-9B9E-085BDEE9BD4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9222" y="3135726"/>
            <a:ext cx="1888984" cy="738664"/>
            <a:chOff x="10270650" y="3526984"/>
            <a:chExt cx="1888984" cy="738664"/>
          </a:xfrm>
        </p:grpSpPr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BBAC0477-2D93-4BF6-8D43-98892B14786D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8A3B3B3F-623D-42A5-8419-61EFA38561A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675810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2"/>
            <a:ext cx="14245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Ústec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9081278E-1859-499E-A660-995C49E4685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9264849"/>
              </p:ext>
            </p:extLst>
          </p:nvPr>
        </p:nvGraphicFramePr>
        <p:xfrm>
          <a:off x="557349" y="1499009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91F6A506-E8C6-4D83-B7FA-AAB3ED7AF00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6E9D42A2-679B-4115-861D-307A533B0DE3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2B6370F4-E80E-459E-A676-CA145DC1BD1E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918549923"/>
              </p:ext>
            </p:extLst>
          </p:nvPr>
        </p:nvGraphicFramePr>
        <p:xfrm>
          <a:off x="5402858" y="719742"/>
          <a:ext cx="5405638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.8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4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7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111767253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F30A4820-C819-4054-A214-00115DDEEF8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398624" y="2674061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627A8BBF-D0B7-4708-842B-EC7EE7F63B1E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9222" y="3135726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B24DAE3F-2ABB-48F4-B4A9-06133AEDB86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46A3A437-54CD-47EF-BF0D-4EC43BCF703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46465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11">
            <a:extLst>
              <a:ext uri="{FF2B5EF4-FFF2-40B4-BE49-F238E27FC236}">
                <a16:creationId xmlns:a16="http://schemas.microsoft.com/office/drawing/2014/main" id="{8DD95BDE-9EA5-4D94-B5AC-A6A1F0DE0010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706141"/>
              </p:ext>
            </p:extLst>
          </p:nvPr>
        </p:nvGraphicFramePr>
        <p:xfrm>
          <a:off x="557349" y="1499009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08971" y="1003172"/>
            <a:ext cx="1557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Liberecký kraj</a:t>
            </a:r>
          </a:p>
        </p:txBody>
      </p:sp>
      <p:sp>
        <p:nvSpPr>
          <p:cNvPr id="47" name="TextBox 14">
            <a:extLst>
              <a:ext uri="{FF2B5EF4-FFF2-40B4-BE49-F238E27FC236}">
                <a16:creationId xmlns:a16="http://schemas.microsoft.com/office/drawing/2014/main" id="{73DBAC9F-1D60-4927-B501-8D23F806918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8" name="TextBox 31">
            <a:extLst>
              <a:ext uri="{FF2B5EF4-FFF2-40B4-BE49-F238E27FC236}">
                <a16:creationId xmlns:a16="http://schemas.microsoft.com/office/drawing/2014/main" id="{B8A45F97-BDC3-4B04-981C-98E021C880B7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8" name="Tabulka 6">
            <a:extLst>
              <a:ext uri="{FF2B5EF4-FFF2-40B4-BE49-F238E27FC236}">
                <a16:creationId xmlns:a16="http://schemas.microsoft.com/office/drawing/2014/main" id="{CBBD0347-326F-46E2-9547-EAC77540DD91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79874341"/>
              </p:ext>
            </p:extLst>
          </p:nvPr>
        </p:nvGraphicFramePr>
        <p:xfrm>
          <a:off x="5552479" y="670468"/>
          <a:ext cx="5405638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.3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289657839"/>
                  </a:ext>
                </a:extLst>
              </a:tr>
            </a:tbl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C09446DD-CA1F-4CE1-BB48-3AF80E7673B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398624" y="2674061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BF9BF013-2027-4926-B703-61DBFCB9D197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9222" y="3135726"/>
            <a:ext cx="1888984" cy="738664"/>
            <a:chOff x="10270650" y="3526984"/>
            <a:chExt cx="1888984" cy="738664"/>
          </a:xfrm>
        </p:grpSpPr>
        <p:sp>
          <p:nvSpPr>
            <p:cNvPr id="22" name="Obdélník 21">
              <a:extLst>
                <a:ext uri="{FF2B5EF4-FFF2-40B4-BE49-F238E27FC236}">
                  <a16:creationId xmlns:a16="http://schemas.microsoft.com/office/drawing/2014/main" id="{A3EFBEA2-6B3C-4805-AE05-EDE83D149A6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FA7CACD0-562D-4AB1-90FA-CA3C0A00ECA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218706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KIP0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2" id="{2D4A943D-6CF5-40F5-A5FA-3C4268B520E4}" vid="{E1241590-6921-44BE-A193-115F12259E7B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40</TotalTime>
  <Words>1920</Words>
  <Application>Microsoft Office PowerPoint</Application>
  <PresentationFormat>Širokoúhlá obrazovka</PresentationFormat>
  <Paragraphs>770</Paragraphs>
  <Slides>32</Slides>
  <Notes>3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Motiv Office</vt:lpstr>
      <vt:lpstr>KKIP02</vt:lpstr>
      <vt:lpstr> 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Dušek Ladislav prof. RNDr. Ph.D.</cp:lastModifiedBy>
  <cp:revision>315</cp:revision>
  <dcterms:created xsi:type="dcterms:W3CDTF">2021-03-07T17:04:34Z</dcterms:created>
  <dcterms:modified xsi:type="dcterms:W3CDTF">2021-10-20T20:36:56Z</dcterms:modified>
</cp:coreProperties>
</file>